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15"/>
  </p:notesMasterIdLst>
  <p:sldIdLst>
    <p:sldId id="256" r:id="rId5"/>
    <p:sldId id="259" r:id="rId6"/>
    <p:sldId id="2147470572" r:id="rId7"/>
    <p:sldId id="2147470576" r:id="rId8"/>
    <p:sldId id="365" r:id="rId9"/>
    <p:sldId id="2147470573" r:id="rId10"/>
    <p:sldId id="2147470574" r:id="rId11"/>
    <p:sldId id="363" r:id="rId12"/>
    <p:sldId id="361" r:id="rId13"/>
    <p:sldId id="263" r:id="rId14"/>
  </p:sldIdLst>
  <p:sldSz cx="10691813" cy="7559675"/>
  <p:notesSz cx="6805613" cy="9939338"/>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8A7DF5-3E3E-4462-A89E-DB6F5B1968D6}" v="458" dt="2022-06-22T10:54:27.767"/>
    <p1510:client id="{82387AB5-6F4A-487A-86BB-4DF7F08724A6}" v="46" dt="2022-06-22T15:09:56.130"/>
    <p1510:client id="{B1F6BA93-D3B7-4982-91A6-B438D7D1CFD0}" v="21" dt="2022-06-23T01:57:26.2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1" autoAdjust="0"/>
    <p:restoredTop sz="96238" autoAdjust="0"/>
  </p:normalViewPr>
  <p:slideViewPr>
    <p:cSldViewPr snapToGrid="0" showGuides="1">
      <p:cViewPr>
        <p:scale>
          <a:sx n="112" d="100"/>
          <a:sy n="112" d="100"/>
        </p:scale>
        <p:origin x="1044"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notesMasters/notesMaster1.xml" Type="http://schemas.openxmlformats.org/officeDocument/2006/relationships/notesMaster"/><Relationship Id="rId16" Target="tags/tag1.xml" Type="http://schemas.openxmlformats.org/officeDocument/2006/relationships/tags"/><Relationship Id="rId17" Target="presProps.xml" Type="http://schemas.openxmlformats.org/officeDocument/2006/relationships/presProps"/><Relationship Id="rId18" Target="viewProps.xml" Type="http://schemas.openxmlformats.org/officeDocument/2006/relationships/viewProps"/><Relationship Id="rId19" Target="theme/theme1.xml" Type="http://schemas.openxmlformats.org/officeDocument/2006/relationships/theme"/><Relationship Id="rId2" Target="../customXml/item2.xml" Type="http://schemas.openxmlformats.org/officeDocument/2006/relationships/customXml"/><Relationship Id="rId20" Target="tableStyles.xml" Type="http://schemas.openxmlformats.org/officeDocument/2006/relationships/tableStyles"/><Relationship Id="rId21" Target="revisionInfo.xml" Type="http://schemas.microsoft.com/office/2015/10/relationships/revisionInfo"/><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kumimoji="1" lang="en-US"/>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CE5BA042-EC00-4615-8758-984AB683F2D1}" type="datetimeFigureOut">
              <a:rPr kumimoji="1" lang="en-US" smtClean="0"/>
              <a:t>6/23/2022</a:t>
            </a:fld>
            <a:endParaRPr kumimoji="1" lang="en-US"/>
          </a:p>
        </p:txBody>
      </p:sp>
      <p:sp>
        <p:nvSpPr>
          <p:cNvPr id="4" name="Slide Image Placeholder 3"/>
          <p:cNvSpPr>
            <a:spLocks noGrp="1" noRot="1" noChangeAspect="1"/>
          </p:cNvSpPr>
          <p:nvPr>
            <p:ph type="sldImg" idx="2"/>
          </p:nvPr>
        </p:nvSpPr>
        <p:spPr>
          <a:xfrm>
            <a:off x="1031875" y="1243013"/>
            <a:ext cx="4741863"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kumimoji="1" lang="en-US"/>
              <a:t>Click to edit Master text styles</a:t>
            </a:r>
          </a:p>
          <a:p>
            <a:pPr lvl="1"/>
            <a:r>
              <a:rPr kumimoji="1" lang="en-US"/>
              <a:t>Second level</a:t>
            </a:r>
          </a:p>
          <a:p>
            <a:pPr lvl="2"/>
            <a:r>
              <a:rPr kumimoji="1" lang="en-US"/>
              <a:t>Third level</a:t>
            </a:r>
          </a:p>
          <a:p>
            <a:pPr lvl="3"/>
            <a:r>
              <a:rPr kumimoji="1" lang="en-US"/>
              <a:t>Fourth level</a:t>
            </a:r>
          </a:p>
          <a:p>
            <a:pPr lvl="4"/>
            <a:r>
              <a:rPr kumimoji="1" lang="en-US"/>
              <a:t>Fifth level</a:t>
            </a:r>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kumimoji="1" lang="en-US"/>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DF960598-9C4B-4CDE-9449-674AB45002E0}" type="slidenum">
              <a:rPr kumimoji="1" lang="en-US" smtClean="0"/>
              <a:t>‹#›</a:t>
            </a:fld>
            <a:endParaRPr kumimoji="1" lang="en-US"/>
          </a:p>
        </p:txBody>
      </p:sp>
    </p:spTree>
    <p:extLst>
      <p:ext uri="{BB962C8B-B14F-4D97-AF65-F5344CB8AC3E}">
        <p14:creationId xmlns:p14="http://schemas.microsoft.com/office/powerpoint/2010/main" val="195594445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9.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0.png" Type="http://schemas.openxmlformats.org/officeDocument/2006/relationships/image"/><Relationship Id="rId3" Target="../media/image11.svg" Type="http://schemas.openxmlformats.org/officeDocument/2006/relationships/image"/><Relationship Id="rId4" Target="../media/image12.png" Type="http://schemas.openxmlformats.org/officeDocument/2006/relationships/image"/><Relationship Id="rId5" Target="../media/image13.svg" Type="http://schemas.openxmlformats.org/officeDocument/2006/relationships/image"/><Relationship Id="rId6" Target="../media/image14.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1078065" y="1786421"/>
            <a:ext cx="0" cy="504000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5" y="585756"/>
            <a:ext cx="10367963" cy="1080328"/>
          </a:xfrm>
          <a:prstGeom prst="rect">
            <a:avLst/>
          </a:prstGeom>
          <a:ln w="19050">
            <a:solidFill>
              <a:schemeClr val="tx2"/>
            </a:solidFill>
          </a:ln>
        </p:spPr>
        <p:txBody>
          <a:bodyPr lIns="144000" tIns="144000" rIns="144000" bIns="108000">
            <a:spAutoFit/>
          </a:bodyPr>
          <a:lstStyle>
            <a:lvl1pPr marL="190800" indent="-190800" algn="l">
              <a:lnSpc>
                <a:spcPct val="100000"/>
              </a:lnSpc>
              <a:spcBef>
                <a:spcPts val="600"/>
              </a:spcBef>
              <a:buFont typeface="Wingdings" panose="05000000000000000000" pitchFamily="2" charset="2"/>
              <a:buChar char="n"/>
              <a:defRPr sz="1400"/>
            </a:lvl1pPr>
            <a:lvl2pPr marL="301625" indent="-101600" algn="l">
              <a:lnSpc>
                <a:spcPct val="100000"/>
              </a:lnSpc>
              <a:spcBef>
                <a:spcPts val="400"/>
              </a:spcBef>
              <a:buFont typeface="Arial" panose="020B0604020202020204" pitchFamily="34" charset="0"/>
              <a:buChar char="•"/>
              <a:defRPr sz="1200"/>
            </a:lvl2pPr>
            <a:lvl3pPr marL="492125" indent="-180975" algn="l">
              <a:lnSpc>
                <a:spcPct val="100000"/>
              </a:lnSpc>
              <a:spcBef>
                <a:spcPts val="200"/>
              </a:spcBef>
              <a:buFont typeface="Wingdings" panose="05000000000000000000" pitchFamily="2" charset="2"/>
              <a:buChar char="ü"/>
              <a:defRPr sz="1100"/>
            </a:lvl3pPr>
            <a:lvl4pPr marL="663575" indent="-165100" algn="l">
              <a:lnSpc>
                <a:spcPct val="100000"/>
              </a:lnSpc>
              <a:spcBef>
                <a:spcPts val="200"/>
              </a:spcBef>
              <a:buFont typeface="Meiryo UI" panose="020B0604030504040204" pitchFamily="50" charset="-128"/>
              <a:buChar char="※"/>
              <a:tabLst>
                <a:tab pos="488950" algn="l"/>
              </a:tabLst>
              <a:defRPr sz="1000"/>
            </a:lvl4pPr>
            <a:lvl5pPr algn="l">
              <a:defRPr sz="2000"/>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ED6B4CB8-616B-4D06-9DEC-B0409D179208}"/>
              </a:ext>
            </a:extLst>
          </p:cNvPr>
          <p:cNvGraphicFramePr>
            <a:graphicFrameLocks noChangeAspect="1"/>
          </p:cNvGraphicFramePr>
          <p:nvPr userDrawn="1">
            <p:custDataLst>
              <p:tags r:id="rId10"/>
            </p:custDataLst>
            <p:extLst>
              <p:ext uri="{D42A27DB-BD31-4B8C-83A1-F6EECF244321}">
                <p14:modId xmlns:p14="http://schemas.microsoft.com/office/powerpoint/2010/main" val="256532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8" imgH="408" progId="TCLayout.ActiveDocument.1">
                  <p:embed/>
                </p:oleObj>
              </mc:Choice>
              <mc:Fallback>
                <p:oleObj name="think-cell Slide" r:id="rId11" imgW="408" imgH="408" progId="TCLayout.ActiveDocument.1">
                  <p:embed/>
                  <p:pic>
                    <p:nvPicPr>
                      <p:cNvPr id="124" name="Object 123" hidden="1">
                        <a:extLst>
                          <a:ext uri="{FF2B5EF4-FFF2-40B4-BE49-F238E27FC236}">
                            <a16:creationId xmlns:a16="http://schemas.microsoft.com/office/drawing/2014/main" id="{ED6B4CB8-616B-4D06-9DEC-B0409D1792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8.xml" Type="http://schemas.openxmlformats.org/officeDocument/2006/relationships/slideLayout"/></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 Id="rId5" Target="../media/image15.jpeg" Type="http://schemas.openxmlformats.org/officeDocument/2006/relationships/image"/><Relationship Id="rId6" Target="../media/image16.jpeg" Type="http://schemas.openxmlformats.org/officeDocument/2006/relationships/image"/></Relationships>
</file>

<file path=ppt/slides/_rels/slide3.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embeddings/oleObject8.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embeddings/oleObject9.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embeddings/oleObject10.bin" Type="http://schemas.openxmlformats.org/officeDocument/2006/relationships/oleObject"/><Relationship Id="rId4"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8F4EE0-F6F6-4504-9394-408CA3DB4539}"/>
              </a:ext>
            </a:extLst>
          </p:cNvPr>
          <p:cNvGraphicFramePr>
            <a:graphicFrameLocks noChangeAspect="1"/>
          </p:cNvGraphicFramePr>
          <p:nvPr>
            <p:custDataLst>
              <p:tags r:id="rId1"/>
            </p:custDataLst>
            <p:extLst>
              <p:ext uri="{D42A27DB-BD31-4B8C-83A1-F6EECF244321}">
                <p14:modId xmlns:p14="http://schemas.microsoft.com/office/powerpoint/2010/main" val="420689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4A8F4EE0-F6F6-4504-9394-408CA3DB4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FCFFEC02-BE8E-44FD-8BA8-C34D8B34CB51}"/>
              </a:ext>
            </a:extLst>
          </p:cNvPr>
          <p:cNvSpPr>
            <a:spLocks noGrp="1"/>
          </p:cNvSpPr>
          <p:nvPr>
            <p:ph sz="quarter" idx="14"/>
          </p:nvPr>
        </p:nvSpPr>
        <p:spPr/>
        <p:txBody>
          <a:bodyPr/>
          <a:lstStyle/>
          <a:p>
            <a:r>
              <a:rPr kumimoji="1" lang="ja-JP" altLang="en-US" dirty="0"/>
              <a:t>製品・サービスのカーボンフットプリントに係るモデル事業概要</a:t>
            </a:r>
          </a:p>
        </p:txBody>
      </p:sp>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a:xfrm>
            <a:off x="1034510" y="3002228"/>
            <a:ext cx="8640000" cy="1008000"/>
          </a:xfrm>
        </p:spPr>
        <p:txBody>
          <a:bodyPr vert="horz">
            <a:noAutofit/>
          </a:bodyPr>
          <a:lstStyle/>
          <a:p>
            <a:r>
              <a:rPr lang="ja-JP" altLang="en-US" sz="2800" dirty="0"/>
              <a:t>令和４年度　製品・サービスのライフサイクルを通じた</a:t>
            </a:r>
            <a:br>
              <a:rPr lang="en-US" altLang="ja-JP" sz="2800" dirty="0"/>
            </a:br>
            <a:r>
              <a:rPr lang="ja-JP" altLang="en-US" sz="2800" dirty="0"/>
              <a:t>温室効果ガス排出量算定・表示推進事業</a:t>
            </a:r>
            <a:endParaRPr kumimoji="1" lang="ja-JP" altLang="en-US" sz="2800" dirty="0"/>
          </a:p>
        </p:txBody>
      </p:sp>
      <p:sp>
        <p:nvSpPr>
          <p:cNvPr id="4" name="コンテンツ プレースホルダー 3">
            <a:extLst>
              <a:ext uri="{FF2B5EF4-FFF2-40B4-BE49-F238E27FC236}">
                <a16:creationId xmlns:a16="http://schemas.microsoft.com/office/drawing/2014/main" id="{47CF85D1-4058-469D-991B-76B00D465584}"/>
              </a:ext>
            </a:extLst>
          </p:cNvPr>
          <p:cNvSpPr>
            <a:spLocks noGrp="1"/>
          </p:cNvSpPr>
          <p:nvPr>
            <p:ph sz="quarter" idx="15"/>
          </p:nvPr>
        </p:nvSpPr>
        <p:spPr>
          <a:xfrm>
            <a:off x="3554510" y="5283653"/>
            <a:ext cx="3600000" cy="288000"/>
          </a:xfrm>
        </p:spPr>
        <p:txBody>
          <a:bodyPr/>
          <a:lstStyle/>
          <a:p>
            <a:r>
              <a:rPr kumimoji="1" lang="en-US" altLang="ja-JP" dirty="0"/>
              <a:t>202</a:t>
            </a:r>
            <a:r>
              <a:rPr lang="en-US" altLang="ja-JP" dirty="0"/>
              <a:t>2</a:t>
            </a:r>
            <a:r>
              <a:rPr kumimoji="1" lang="ja-JP" altLang="en-US" dirty="0"/>
              <a:t>年</a:t>
            </a:r>
            <a:r>
              <a:rPr lang="en-US" altLang="ja-JP" dirty="0"/>
              <a:t>6</a:t>
            </a:r>
            <a:r>
              <a:rPr kumimoji="1" lang="ja-JP" altLang="en-US" dirty="0"/>
              <a:t>月</a:t>
            </a:r>
            <a:r>
              <a:rPr kumimoji="1" lang="en-US" altLang="ja-JP" dirty="0"/>
              <a:t>27</a:t>
            </a:r>
            <a:r>
              <a:rPr kumimoji="1" lang="ja-JP" altLang="en-US" dirty="0"/>
              <a:t>日</a:t>
            </a:r>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54510" y="5743103"/>
            <a:ext cx="3600000" cy="288000"/>
          </a:xfrm>
        </p:spPr>
        <p:txBody>
          <a:bodyPr lIns="0" tIns="0" rIns="0" bIns="0"/>
          <a:lstStyle/>
          <a:p>
            <a:pPr>
              <a:spcBef>
                <a:spcPts val="0"/>
              </a:spcBef>
            </a:pPr>
            <a:r>
              <a:rPr lang="ja-JP" altLang="en-US" dirty="0"/>
              <a:t>地球環境局 地球温暖化対策課</a:t>
            </a:r>
            <a:endParaRPr lang="en-US" altLang="ja-JP" dirty="0"/>
          </a:p>
          <a:p>
            <a:pPr>
              <a:spcBef>
                <a:spcPts val="0"/>
              </a:spcBef>
            </a:pPr>
            <a:r>
              <a:rPr lang="ja-JP" altLang="en-US" dirty="0"/>
              <a:t>脱炭素ビジネス推進室</a:t>
            </a:r>
            <a:endParaRPr kumimoji="1" lang="ja-JP" altLang="en-US"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329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5D44D8-5E59-4543-9EA5-C1924826CAC0}"/>
              </a:ext>
            </a:extLst>
          </p:cNvPr>
          <p:cNvGraphicFramePr>
            <a:graphicFrameLocks noChangeAspect="1"/>
          </p:cNvGraphicFramePr>
          <p:nvPr>
            <p:custDataLst>
              <p:tags r:id="rId1"/>
            </p:custDataLst>
            <p:extLst>
              <p:ext uri="{D42A27DB-BD31-4B8C-83A1-F6EECF244321}">
                <p14:modId xmlns:p14="http://schemas.microsoft.com/office/powerpoint/2010/main" val="276268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Object 1" hidden="1">
                        <a:extLst>
                          <a:ext uri="{FF2B5EF4-FFF2-40B4-BE49-F238E27FC236}">
                            <a16:creationId xmlns:a16="http://schemas.microsoft.com/office/drawing/2014/main" id="{665D44D8-5E59-4543-9EA5-C1924826CA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9832C084-7FDB-4F2C-96F2-09A22F85D682}"/>
              </a:ext>
            </a:extLst>
          </p:cNvPr>
          <p:cNvSpPr>
            <a:spLocks noGrp="1"/>
          </p:cNvSpPr>
          <p:nvPr>
            <p:ph type="title"/>
          </p:nvPr>
        </p:nvSpPr>
        <p:spPr>
          <a:xfrm>
            <a:off x="161925" y="284266"/>
            <a:ext cx="9493704" cy="648000"/>
          </a:xfrm>
        </p:spPr>
        <p:txBody>
          <a:bodyPr vert="horz"/>
          <a:lstStyle/>
          <a:p>
            <a:r>
              <a:rPr lang="ja-JP" altLang="en-US" dirty="0"/>
              <a:t>モデル事業の概要</a:t>
            </a:r>
            <a:endParaRPr kumimoji="1" lang="ja-JP" altLang="en-US" dirty="0"/>
          </a:p>
        </p:txBody>
      </p:sp>
      <p:sp>
        <p:nvSpPr>
          <p:cNvPr id="5" name="コンテンツ プレースホルダー 4">
            <a:extLst>
              <a:ext uri="{FF2B5EF4-FFF2-40B4-BE49-F238E27FC236}">
                <a16:creationId xmlns:a16="http://schemas.microsoft.com/office/drawing/2014/main" id="{51DC613F-5055-410D-A8AD-2FF7DE2E4CB4}"/>
              </a:ext>
            </a:extLst>
          </p:cNvPr>
          <p:cNvSpPr>
            <a:spLocks noGrp="1"/>
          </p:cNvSpPr>
          <p:nvPr>
            <p:ph sz="quarter" idx="13"/>
          </p:nvPr>
        </p:nvSpPr>
        <p:spPr>
          <a:xfrm>
            <a:off x="161925" y="1110920"/>
            <a:ext cx="10367963" cy="942717"/>
          </a:xfrm>
        </p:spPr>
        <p:txBody>
          <a:bodyPr lIns="180000" tIns="180000" rIns="180000" bIns="144000" anchor="t">
            <a:spAutoFit/>
          </a:bodyPr>
          <a:lstStyle/>
          <a:p>
            <a:r>
              <a:rPr lang="ja-JP" altLang="en-US" dirty="0"/>
              <a:t>個別の製品・サービスの</a:t>
            </a:r>
            <a:r>
              <a:rPr lang="en-US" altLang="ja-JP" dirty="0"/>
              <a:t>GHG</a:t>
            </a:r>
            <a:r>
              <a:rPr lang="ja-JP" altLang="en-US" dirty="0"/>
              <a:t>排出量の算定・表示に取り組むことを通じて、排出削減とビジネス成長の両立を目指す企業を支援する</a:t>
            </a:r>
          </a:p>
        </p:txBody>
      </p:sp>
      <p:sp>
        <p:nvSpPr>
          <p:cNvPr id="6" name="TextBox 6">
            <a:extLst>
              <a:ext uri="{FF2B5EF4-FFF2-40B4-BE49-F238E27FC236}">
                <a16:creationId xmlns:a16="http://schemas.microsoft.com/office/drawing/2014/main" id="{E2908A2D-5DF9-4751-851C-66E1AA964822}"/>
              </a:ext>
            </a:extLst>
          </p:cNvPr>
          <p:cNvSpPr txBox="1"/>
          <p:nvPr/>
        </p:nvSpPr>
        <p:spPr>
          <a:xfrm>
            <a:off x="161925" y="2169885"/>
            <a:ext cx="4321175" cy="3365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800" dirty="0">
                <a:solidFill>
                  <a:srgbClr val="009C89"/>
                </a:solidFill>
                <a:latin typeface="Trebuchet MS" panose="020B0603020202020204" pitchFamily="34" charset="0"/>
                <a:ea typeface="Meiryo UI" panose="020B0604030504040204" pitchFamily="50" charset="-128"/>
              </a:rPr>
              <a:t>背景</a:t>
            </a:r>
            <a:endParaRPr kumimoji="1" lang="en-US" sz="1800" dirty="0" err="1">
              <a:solidFill>
                <a:srgbClr val="009C89"/>
              </a:solidFill>
              <a:latin typeface="Trebuchet MS" panose="020B0603020202020204" pitchFamily="34" charset="0"/>
              <a:ea typeface="Meiryo UI" panose="020B0604030504040204" pitchFamily="50" charset="-128"/>
            </a:endParaRPr>
          </a:p>
        </p:txBody>
      </p:sp>
      <p:cxnSp>
        <p:nvCxnSpPr>
          <p:cNvPr id="7" name="Straight Connector 6">
            <a:extLst>
              <a:ext uri="{FF2B5EF4-FFF2-40B4-BE49-F238E27FC236}">
                <a16:creationId xmlns:a16="http://schemas.microsoft.com/office/drawing/2014/main" id="{047BDD9A-402C-49FC-BC3A-466EAA33312C}"/>
              </a:ext>
            </a:extLst>
          </p:cNvPr>
          <p:cNvCxnSpPr/>
          <p:nvPr/>
        </p:nvCxnSpPr>
        <p:spPr>
          <a:xfrm>
            <a:off x="161925" y="2495324"/>
            <a:ext cx="432117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65571C3-442B-4D31-BE13-412AEB3B0A85}"/>
              </a:ext>
            </a:extLst>
          </p:cNvPr>
          <p:cNvSpPr txBox="1"/>
          <p:nvPr/>
        </p:nvSpPr>
        <p:spPr>
          <a:xfrm>
            <a:off x="5054599" y="2169885"/>
            <a:ext cx="5475288" cy="3365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800" dirty="0">
                <a:solidFill>
                  <a:srgbClr val="009C89"/>
                </a:solidFill>
                <a:latin typeface="Trebuchet MS" panose="020B0603020202020204" pitchFamily="34" charset="0"/>
                <a:ea typeface="Meiryo UI" panose="020B0604030504040204" pitchFamily="50" charset="-128"/>
              </a:rPr>
              <a:t>事業の目的と実施内容</a:t>
            </a:r>
            <a:endParaRPr kumimoji="1" lang="en-US" sz="1800" dirty="0" err="1">
              <a:solidFill>
                <a:srgbClr val="009C89"/>
              </a:solidFill>
              <a:latin typeface="Trebuchet MS" panose="020B0603020202020204" pitchFamily="34" charset="0"/>
              <a:ea typeface="Meiryo UI" panose="020B0604030504040204" pitchFamily="50" charset="-128"/>
            </a:endParaRPr>
          </a:p>
        </p:txBody>
      </p:sp>
      <p:cxnSp>
        <p:nvCxnSpPr>
          <p:cNvPr id="9" name="Straight Connector 8">
            <a:extLst>
              <a:ext uri="{FF2B5EF4-FFF2-40B4-BE49-F238E27FC236}">
                <a16:creationId xmlns:a16="http://schemas.microsoft.com/office/drawing/2014/main" id="{E0623688-E43B-43B2-B21F-32136C5E1068}"/>
              </a:ext>
            </a:extLst>
          </p:cNvPr>
          <p:cNvCxnSpPr/>
          <p:nvPr/>
        </p:nvCxnSpPr>
        <p:spPr>
          <a:xfrm>
            <a:off x="5054600" y="2495324"/>
            <a:ext cx="547527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0ADC403-7D35-4CC7-94E6-95532B1F555C}"/>
              </a:ext>
            </a:extLst>
          </p:cNvPr>
          <p:cNvSpPr txBox="1"/>
          <p:nvPr/>
        </p:nvSpPr>
        <p:spPr>
          <a:xfrm>
            <a:off x="5054599" y="2638199"/>
            <a:ext cx="5475289" cy="17424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spcBef>
                <a:spcPts val="800"/>
              </a:spcBef>
              <a:buClr>
                <a:schemeClr val="tx2">
                  <a:lumMod val="100000"/>
                </a:schemeClr>
              </a:buClr>
              <a:buSzPct val="100000"/>
            </a:pPr>
            <a:r>
              <a:rPr lang="ja-JP" altLang="en-US" sz="1600" dirty="0">
                <a:solidFill>
                  <a:schemeClr val="tx1">
                    <a:lumMod val="100000"/>
                  </a:schemeClr>
                </a:solidFill>
                <a:latin typeface="Trebuchet MS" panose="020B0603020202020204" pitchFamily="34" charset="0"/>
                <a:ea typeface="Meiryo UI" panose="020B0604030504040204" pitchFamily="50" charset="-128"/>
              </a:rPr>
              <a:t>国民が脱炭素に貢献する製品・サービスを選択できる社会を</a:t>
            </a:r>
            <a:br>
              <a:rPr lang="en-US" altLang="ja-JP" sz="1600" dirty="0">
                <a:solidFill>
                  <a:schemeClr val="tx1">
                    <a:lumMod val="100000"/>
                  </a:schemeClr>
                </a:solidFill>
                <a:latin typeface="Trebuchet MS" panose="020B0603020202020204" pitchFamily="34" charset="0"/>
                <a:ea typeface="Meiryo UI" panose="020B0604030504040204" pitchFamily="50" charset="-128"/>
              </a:rPr>
            </a:br>
            <a:r>
              <a:rPr lang="ja-JP" altLang="en-US" sz="1600" dirty="0">
                <a:solidFill>
                  <a:schemeClr val="tx1">
                    <a:lumMod val="100000"/>
                  </a:schemeClr>
                </a:solidFill>
                <a:latin typeface="Trebuchet MS" panose="020B0603020202020204" pitchFamily="34" charset="0"/>
                <a:ea typeface="Meiryo UI" panose="020B0604030504040204" pitchFamily="50" charset="-128"/>
              </a:rPr>
              <a:t>実現するため、本事業では以下に取り組む</a:t>
            </a:r>
            <a:endParaRPr lang="en-US" altLang="ja-JP" sz="1600" dirty="0">
              <a:solidFill>
                <a:schemeClr val="tx1"/>
              </a:solidFill>
              <a:latin typeface="Trebuchet MS" panose="020B0603020202020204" pitchFamily="34" charset="0"/>
              <a:ea typeface="Meiryo UI" panose="020B0604030504040204" pitchFamily="50" charset="-128"/>
            </a:endParaRPr>
          </a:p>
          <a:p>
            <a:pPr marL="450900" lvl="1" indent="-342900">
              <a:spcBef>
                <a:spcPts val="800"/>
              </a:spcBef>
              <a:buClr>
                <a:schemeClr val="tx2">
                  <a:lumMod val="100000"/>
                </a:schemeClr>
              </a:buClr>
              <a:buSzPct val="100000"/>
              <a:buFont typeface="+mj-ea"/>
              <a:buAutoNum type="circleNumDbPlain"/>
            </a:pP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算定・表示を通じた排出削減とビジネス成長の両立のロールモデルを構築</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450900" lvl="1" indent="-342900">
              <a:spcBef>
                <a:spcPts val="800"/>
              </a:spcBef>
              <a:buClr>
                <a:schemeClr val="tx2">
                  <a:lumMod val="100000"/>
                </a:schemeClr>
              </a:buClr>
              <a:buSzPct val="100000"/>
              <a:buFont typeface="+mj-ea"/>
              <a:buAutoNum type="circleNumDbPlain"/>
            </a:pPr>
            <a:r>
              <a:rPr lang="ja-JP" altLang="en-US" sz="1600" dirty="0">
                <a:solidFill>
                  <a:schemeClr val="tx1">
                    <a:lumMod val="100000"/>
                  </a:schemeClr>
                </a:solidFill>
                <a:latin typeface="Trebuchet MS" panose="020B0603020202020204" pitchFamily="34" charset="0"/>
                <a:ea typeface="Meiryo UI" panose="020B0604030504040204" pitchFamily="50" charset="-128"/>
              </a:rPr>
              <a:t>構築したモデルケースを幅広い企業に横展開するための</a:t>
            </a:r>
            <a:br>
              <a:rPr lang="en-US" altLang="ja-JP" sz="1600" dirty="0">
                <a:solidFill>
                  <a:schemeClr val="tx1">
                    <a:lumMod val="100000"/>
                  </a:schemeClr>
                </a:solidFill>
                <a:latin typeface="Trebuchet MS" panose="020B0603020202020204" pitchFamily="34" charset="0"/>
                <a:ea typeface="Meiryo UI" panose="020B0604030504040204" pitchFamily="50" charset="-128"/>
              </a:rPr>
            </a:br>
            <a:r>
              <a:rPr lang="ja-JP" altLang="en-US" sz="1600" dirty="0">
                <a:solidFill>
                  <a:schemeClr val="tx1">
                    <a:lumMod val="100000"/>
                  </a:schemeClr>
                </a:solidFill>
                <a:latin typeface="Trebuchet MS" panose="020B0603020202020204" pitchFamily="34" charset="0"/>
                <a:ea typeface="Meiryo UI" panose="020B0604030504040204" pitchFamily="50" charset="-128"/>
              </a:rPr>
              <a:t>ガイドブックを作成・公表</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p:txBody>
      </p:sp>
      <p:sp>
        <p:nvSpPr>
          <p:cNvPr id="11" name="Rectangle 10">
            <a:extLst>
              <a:ext uri="{FF2B5EF4-FFF2-40B4-BE49-F238E27FC236}">
                <a16:creationId xmlns:a16="http://schemas.microsoft.com/office/drawing/2014/main" id="{A62CCF99-4A3C-4103-8198-AA4F61EC5B21}"/>
              </a:ext>
            </a:extLst>
          </p:cNvPr>
          <p:cNvSpPr/>
          <p:nvPr/>
        </p:nvSpPr>
        <p:spPr>
          <a:xfrm>
            <a:off x="161925" y="2638199"/>
            <a:ext cx="4321175" cy="38105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spcBef>
                <a:spcPts val="800"/>
              </a:spcBef>
              <a:buClr>
                <a:schemeClr val="tx2">
                  <a:lumMod val="100000"/>
                </a:schemeClr>
              </a:buClr>
              <a:buSzPct val="100000"/>
              <a:buFont typeface="Trebuchet MS" panose="020B0603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地域脱炭素ロードマップ」においては、国民が脱炭素に貢献する製品・サービスを選択できる社会を実現することが示されてい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324000" lvl="1" indent="-216000">
              <a:spcBef>
                <a:spcPts val="800"/>
              </a:spcBef>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その実現のためには、企業が個別の製品・</a:t>
            </a:r>
            <a:br>
              <a:rPr lang="en-US" altLang="ja-JP" sz="1600" dirty="0">
                <a:solidFill>
                  <a:schemeClr val="tx1"/>
                </a:solidFill>
                <a:latin typeface="Trebuchet MS" panose="020B0603020202020204" pitchFamily="34" charset="0"/>
                <a:ea typeface="Meiryo UI" panose="020B0604030504040204" pitchFamily="50" charset="-128"/>
              </a:rPr>
            </a:br>
            <a:r>
              <a:rPr lang="ja-JP" altLang="en-US" sz="1600" dirty="0">
                <a:solidFill>
                  <a:schemeClr val="tx1"/>
                </a:solidFill>
                <a:latin typeface="Trebuchet MS" panose="020B0603020202020204" pitchFamily="34" charset="0"/>
                <a:ea typeface="Meiryo UI" panose="020B0604030504040204" pitchFamily="50" charset="-128"/>
              </a:rPr>
              <a:t>サービスのカーボンフットプリント </a:t>
            </a:r>
            <a:r>
              <a:rPr lang="en-US" altLang="ja-JP" sz="1600" dirty="0">
                <a:solidFill>
                  <a:schemeClr val="tx1"/>
                </a:solidFill>
                <a:latin typeface="Trebuchet MS" panose="020B0603020202020204" pitchFamily="34" charset="0"/>
                <a:ea typeface="Meiryo UI" panose="020B0604030504040204" pitchFamily="50" charset="-128"/>
              </a:rPr>
              <a:t>(CFP) </a:t>
            </a:r>
            <a:r>
              <a:rPr lang="ja-JP" altLang="en-US" sz="1600" dirty="0">
                <a:solidFill>
                  <a:schemeClr val="tx1"/>
                </a:solidFill>
                <a:latin typeface="Trebuchet MS" panose="020B0603020202020204" pitchFamily="34" charset="0"/>
                <a:ea typeface="Meiryo UI" panose="020B0604030504040204" pitchFamily="50" charset="-128"/>
              </a:rPr>
              <a:t>の算定を行い、消費者に伝える取組を推進することが必要</a:t>
            </a:r>
            <a:endParaRPr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spcBef>
                <a:spcPts val="800"/>
              </a:spcBef>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一方、</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算定・表示を行う難易度・業務</a:t>
            </a:r>
            <a:br>
              <a:rPr lang="en-US" altLang="ja-JP" sz="1600" dirty="0">
                <a:solidFill>
                  <a:schemeClr val="tx1"/>
                </a:solidFill>
                <a:latin typeface="Trebuchet MS" panose="020B0603020202020204" pitchFamily="34" charset="0"/>
                <a:ea typeface="Meiryo UI" panose="020B0604030504040204" pitchFamily="50" charset="-128"/>
              </a:rPr>
            </a:br>
            <a:r>
              <a:rPr lang="ja-JP" altLang="en-US" sz="1600" dirty="0">
                <a:solidFill>
                  <a:schemeClr val="tx1"/>
                </a:solidFill>
                <a:latin typeface="Trebuchet MS" panose="020B0603020202020204" pitchFamily="34" charset="0"/>
                <a:ea typeface="Meiryo UI" panose="020B0604030504040204" pitchFamily="50" charset="-128"/>
              </a:rPr>
              <a:t>負担が大きいことが課題となり、取組に躊躇する企業も少なくない</a:t>
            </a:r>
            <a:endParaRPr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31" name="Group 30">
            <a:extLst>
              <a:ext uri="{FF2B5EF4-FFF2-40B4-BE49-F238E27FC236}">
                <a16:creationId xmlns:a16="http://schemas.microsoft.com/office/drawing/2014/main" id="{D752B223-F95A-49AE-99FC-107B6D2B51AF}"/>
              </a:ext>
            </a:extLst>
          </p:cNvPr>
          <p:cNvGrpSpPr/>
          <p:nvPr/>
        </p:nvGrpSpPr>
        <p:grpSpPr>
          <a:xfrm>
            <a:off x="4615764" y="2169885"/>
            <a:ext cx="306171" cy="4795698"/>
            <a:chOff x="4615765" y="2405679"/>
            <a:chExt cx="306171" cy="4795698"/>
          </a:xfrm>
        </p:grpSpPr>
        <p:cxnSp>
          <p:nvCxnSpPr>
            <p:cNvPr id="26" name="Straight Connector 25">
              <a:extLst>
                <a:ext uri="{FF2B5EF4-FFF2-40B4-BE49-F238E27FC236}">
                  <a16:creationId xmlns:a16="http://schemas.microsoft.com/office/drawing/2014/main" id="{C122940C-C884-4140-86AE-359251E0F300}"/>
                </a:ext>
              </a:extLst>
            </p:cNvPr>
            <p:cNvCxnSpPr>
              <a:cxnSpLocks/>
            </p:cNvCxnSpPr>
            <p:nvPr/>
          </p:nvCxnSpPr>
          <p:spPr>
            <a:xfrm>
              <a:off x="4768850" y="2405679"/>
              <a:ext cx="0" cy="479569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9F85FD2-EE89-40CB-8089-E463F15422E1}"/>
                </a:ext>
              </a:extLst>
            </p:cNvPr>
            <p:cNvGrpSpPr/>
            <p:nvPr/>
          </p:nvGrpSpPr>
          <p:grpSpPr>
            <a:xfrm>
              <a:off x="4615765" y="4650073"/>
              <a:ext cx="306171" cy="306910"/>
              <a:chOff x="5937564" y="3833745"/>
              <a:chExt cx="306171" cy="306910"/>
            </a:xfrm>
          </p:grpSpPr>
          <p:sp>
            <p:nvSpPr>
              <p:cNvPr id="28" name="Freeform 94">
                <a:extLst>
                  <a:ext uri="{FF2B5EF4-FFF2-40B4-BE49-F238E27FC236}">
                    <a16:creationId xmlns:a16="http://schemas.microsoft.com/office/drawing/2014/main" id="{86845F41-72ED-437D-B18F-C9B2BCFEEBE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9" name="Freeform 95">
                <a:extLst>
                  <a:ext uri="{FF2B5EF4-FFF2-40B4-BE49-F238E27FC236}">
                    <a16:creationId xmlns:a16="http://schemas.microsoft.com/office/drawing/2014/main" id="{C3D020C4-30C6-46AE-9AC3-2D1FD24F489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3" name="Rectangle 12">
            <a:extLst>
              <a:ext uri="{FF2B5EF4-FFF2-40B4-BE49-F238E27FC236}">
                <a16:creationId xmlns:a16="http://schemas.microsoft.com/office/drawing/2014/main" id="{B5EA0311-1B2A-4F5A-9170-CE79A68C3CF1}"/>
              </a:ext>
            </a:extLst>
          </p:cNvPr>
          <p:cNvSpPr/>
          <p:nvPr/>
        </p:nvSpPr>
        <p:spPr>
          <a:xfrm>
            <a:off x="5098197" y="4639297"/>
            <a:ext cx="1956799" cy="950163"/>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lvl="2" indent="-180975">
              <a:buClr>
                <a:srgbClr val="009C89"/>
              </a:buClr>
              <a:buSzPct val="100000"/>
              <a:buFont typeface="+mj-ea"/>
              <a:buAutoNum type="circleNumDbPlain"/>
            </a:pPr>
            <a:endParaRPr lang="en-US" altLang="ja-JP" sz="1400" dirty="0">
              <a:solidFill>
                <a:schemeClr val="tx1">
                  <a:lumMod val="100000"/>
                </a:schemeClr>
              </a:solidFill>
              <a:latin typeface="Trebuchet MS" panose="020B0603020202020204" pitchFamily="34" charset="0"/>
              <a:ea typeface="Meiryo UI" panose="020B0604030504040204" pitchFamily="50" charset="-128"/>
            </a:endParaRPr>
          </a:p>
        </p:txBody>
      </p:sp>
      <p:sp>
        <p:nvSpPr>
          <p:cNvPr id="38" name="Oval 37">
            <a:extLst>
              <a:ext uri="{FF2B5EF4-FFF2-40B4-BE49-F238E27FC236}">
                <a16:creationId xmlns:a16="http://schemas.microsoft.com/office/drawing/2014/main" id="{861C4A10-CFA4-4202-85AD-838F31F2230B}"/>
              </a:ext>
            </a:extLst>
          </p:cNvPr>
          <p:cNvSpPr/>
          <p:nvPr/>
        </p:nvSpPr>
        <p:spPr>
          <a:xfrm>
            <a:off x="9202937" y="4465674"/>
            <a:ext cx="1162604" cy="24999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国民が</a:t>
            </a:r>
            <a:br>
              <a:rPr lang="en-US" altLang="ja-JP"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脱炭素</a:t>
            </a:r>
            <a:b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行動を</a:t>
            </a:r>
            <a:br>
              <a:rPr lang="en-US" altLang="ja-JP"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選択</a:t>
            </a:r>
            <a:br>
              <a:rPr lang="en-US" altLang="ja-JP"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できる</a:t>
            </a:r>
            <a:br>
              <a:rPr lang="en-US" altLang="ja-JP"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社会</a:t>
            </a:r>
          </a:p>
        </p:txBody>
      </p:sp>
      <p:sp>
        <p:nvSpPr>
          <p:cNvPr id="40" name="Arrow: Pentagon 39">
            <a:extLst>
              <a:ext uri="{FF2B5EF4-FFF2-40B4-BE49-F238E27FC236}">
                <a16:creationId xmlns:a16="http://schemas.microsoft.com/office/drawing/2014/main" id="{072281ED-CD66-41CF-BFC7-DABC2BF0AF7B}"/>
              </a:ext>
            </a:extLst>
          </p:cNvPr>
          <p:cNvSpPr/>
          <p:nvPr/>
        </p:nvSpPr>
        <p:spPr>
          <a:xfrm>
            <a:off x="6898538" y="4465674"/>
            <a:ext cx="2226295" cy="1195628"/>
          </a:xfrm>
          <a:prstGeom prst="homePlate">
            <a:avLst>
              <a:gd name="adj" fmla="val 18199"/>
            </a:avLst>
          </a:prstGeom>
          <a:noFill/>
          <a:ln w="9525" cap="rnd" cmpd="sng" algn="ctr">
            <a:solidFill>
              <a:srgbClr val="295E7E"/>
            </a:solidFill>
            <a:prstDash val="solid"/>
            <a:round/>
            <a:headEnd type="none" w="med" len="med"/>
            <a:tailEnd type="none" w="med" len="med"/>
          </a:ln>
          <a:effectLst/>
          <a:extLst>
            <a:ext uri="{909E8E84-426E-40DD-AFC4-6F175D3DCCD1}">
              <a14:hiddenFill xmlns:a14="http://schemas.microsoft.com/office/drawing/2010/main">
                <a:solidFill>
                  <a:schemeClr val="accent2">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975" lvl="2" indent="-180975">
              <a:buClr>
                <a:srgbClr val="009C89"/>
              </a:buClr>
              <a:buSzPct val="100000"/>
              <a:buFont typeface="+mj-ea"/>
              <a:buAutoNum type="circleNumDbPlain"/>
            </a:pPr>
            <a:r>
              <a:rPr lang="ja-JP" altLang="en-US" sz="1600" dirty="0">
                <a:solidFill>
                  <a:srgbClr val="009C89"/>
                </a:solidFill>
                <a:latin typeface="Trebuchet MS" panose="020B0603020202020204" pitchFamily="34" charset="0"/>
                <a:ea typeface="Meiryo UI" panose="020B0604030504040204" pitchFamily="50" charset="-128"/>
              </a:rPr>
              <a:t> モデル企業支援</a:t>
            </a:r>
            <a:endParaRPr lang="en-US" altLang="ja-JP" sz="1600" dirty="0">
              <a:solidFill>
                <a:srgbClr val="009C89"/>
              </a:solidFill>
              <a:latin typeface="Trebuchet MS" panose="020B0603020202020204" pitchFamily="34" charset="0"/>
              <a:ea typeface="Meiryo UI" panose="020B0604030504040204" pitchFamily="50" charset="-128"/>
            </a:endParaRPr>
          </a:p>
          <a:p>
            <a:pPr marL="266700" lvl="1" indent="-180975">
              <a:buClr>
                <a:schemeClr val="tx2">
                  <a:lumMod val="100000"/>
                </a:schemeClr>
              </a:buClr>
              <a:buSzPct val="100000"/>
              <a:buFont typeface="Trebuchet MS" panose="020B0603020202020204" pitchFamily="34" charset="0"/>
              <a:buChar char="•"/>
            </a:pPr>
            <a:r>
              <a:rPr lang="en-US" altLang="ja-JP" sz="1400" dirty="0">
                <a:solidFill>
                  <a:schemeClr val="tx1">
                    <a:lumMod val="100000"/>
                  </a:schemeClr>
                </a:solidFill>
                <a:latin typeface="Trebuchet MS" panose="020B0603020202020204" pitchFamily="34" charset="0"/>
                <a:ea typeface="Meiryo UI" panose="020B0604030504040204" pitchFamily="50" charset="-128"/>
              </a:rPr>
              <a:t>CFP</a:t>
            </a:r>
            <a:r>
              <a:rPr lang="ja-JP" altLang="en-US" sz="1400" dirty="0">
                <a:solidFill>
                  <a:schemeClr val="tx1">
                    <a:lumMod val="100000"/>
                  </a:schemeClr>
                </a:solidFill>
                <a:latin typeface="Trebuchet MS" panose="020B0603020202020204" pitchFamily="34" charset="0"/>
                <a:ea typeface="Meiryo UI" panose="020B0604030504040204" pitchFamily="50" charset="-128"/>
              </a:rPr>
              <a:t>の算定及び表示・　活用を支援し、先進的なロールモデルを創出</a:t>
            </a:r>
            <a:endParaRPr lang="en-US" altLang="ja-JP" sz="1400" dirty="0">
              <a:solidFill>
                <a:schemeClr val="tx1">
                  <a:lumMod val="100000"/>
                </a:schemeClr>
              </a:solidFill>
              <a:latin typeface="Trebuchet MS" panose="020B0603020202020204" pitchFamily="34" charset="0"/>
              <a:ea typeface="Meiryo UI" panose="020B0604030504040204" pitchFamily="50" charset="-128"/>
            </a:endParaRPr>
          </a:p>
        </p:txBody>
      </p:sp>
      <p:sp>
        <p:nvSpPr>
          <p:cNvPr id="42" name="Arrow: Pentagon 41">
            <a:extLst>
              <a:ext uri="{FF2B5EF4-FFF2-40B4-BE49-F238E27FC236}">
                <a16:creationId xmlns:a16="http://schemas.microsoft.com/office/drawing/2014/main" id="{ED07441B-5BE7-4C8E-BDEE-2940BC36858C}"/>
              </a:ext>
            </a:extLst>
          </p:cNvPr>
          <p:cNvSpPr/>
          <p:nvPr/>
        </p:nvSpPr>
        <p:spPr>
          <a:xfrm>
            <a:off x="6898538" y="5756213"/>
            <a:ext cx="2226295" cy="1209370"/>
          </a:xfrm>
          <a:prstGeom prst="homePlate">
            <a:avLst>
              <a:gd name="adj" fmla="val 18199"/>
            </a:avLst>
          </a:prstGeom>
          <a:noFill/>
          <a:ln w="9525" cap="rnd" cmpd="sng" algn="ctr">
            <a:solidFill>
              <a:srgbClr val="295E7E"/>
            </a:solidFill>
            <a:prstDash val="solid"/>
            <a:round/>
            <a:headEnd type="none" w="med" len="med"/>
            <a:tailEnd type="none" w="med" len="med"/>
          </a:ln>
          <a:effectLst/>
          <a:extLst>
            <a:ext uri="{909E8E84-426E-40DD-AFC4-6F175D3DCCD1}">
              <a14:hiddenFill xmlns:a14="http://schemas.microsoft.com/office/drawing/2010/main">
                <a:solidFill>
                  <a:schemeClr val="accent2">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975" lvl="2" indent="-180975">
              <a:buClr>
                <a:srgbClr val="009C89"/>
              </a:buClr>
              <a:buSzPct val="100000"/>
              <a:buFont typeface="+mj-ea"/>
              <a:buAutoNum type="circleNumDbPlain" startAt="2"/>
            </a:pPr>
            <a:r>
              <a:rPr lang="ja-JP" altLang="en-US" sz="1600" dirty="0">
                <a:solidFill>
                  <a:srgbClr val="009C89"/>
                </a:solidFill>
                <a:latin typeface="Trebuchet MS" panose="020B0603020202020204" pitchFamily="34" charset="0"/>
                <a:ea typeface="Meiryo UI" panose="020B0604030504040204" pitchFamily="50" charset="-128"/>
              </a:rPr>
              <a:t> 知見のガイドブック化</a:t>
            </a:r>
            <a:endParaRPr lang="en-US" altLang="ja-JP" sz="1600" dirty="0">
              <a:solidFill>
                <a:srgbClr val="009C89"/>
              </a:solidFill>
              <a:latin typeface="Trebuchet MS" panose="020B0603020202020204" pitchFamily="34" charset="0"/>
              <a:ea typeface="Meiryo UI" panose="020B0604030504040204" pitchFamily="50" charset="-128"/>
            </a:endParaRPr>
          </a:p>
          <a:p>
            <a:pPr marL="266700" lvl="1" indent="-180975">
              <a:buClr>
                <a:schemeClr val="tx2">
                  <a:lumMod val="100000"/>
                </a:schemeClr>
              </a:buClr>
              <a:buSzPct val="100000"/>
              <a:buFont typeface="Trebuchet MS" panose="020B0603020202020204" pitchFamily="34" charset="0"/>
              <a:buChar char="•"/>
            </a:pPr>
            <a:r>
              <a:rPr lang="ja-JP" altLang="en-US" sz="1400" dirty="0">
                <a:solidFill>
                  <a:schemeClr val="tx1">
                    <a:lumMod val="100000"/>
                  </a:schemeClr>
                </a:solidFill>
                <a:latin typeface="Trebuchet MS" panose="020B0603020202020204" pitchFamily="34" charset="0"/>
                <a:ea typeface="Meiryo UI" panose="020B0604030504040204" pitchFamily="50" charset="-128"/>
              </a:rPr>
              <a:t>モデル企業支援で得られた知見等をガイドブック</a:t>
            </a:r>
            <a:br>
              <a:rPr lang="en-US" altLang="ja-JP" sz="1400" dirty="0">
                <a:solidFill>
                  <a:schemeClr val="tx1">
                    <a:lumMod val="100000"/>
                  </a:schemeClr>
                </a:solidFill>
                <a:latin typeface="Trebuchet MS" panose="020B0603020202020204" pitchFamily="34" charset="0"/>
                <a:ea typeface="Meiryo UI" panose="020B0604030504040204" pitchFamily="50" charset="-128"/>
              </a:rPr>
            </a:br>
            <a:r>
              <a:rPr lang="ja-JP" altLang="en-US" sz="1400" dirty="0">
                <a:solidFill>
                  <a:schemeClr val="tx1">
                    <a:lumMod val="100000"/>
                  </a:schemeClr>
                </a:solidFill>
                <a:latin typeface="Trebuchet MS" panose="020B0603020202020204" pitchFamily="34" charset="0"/>
                <a:ea typeface="Meiryo UI" panose="020B0604030504040204" pitchFamily="50" charset="-128"/>
              </a:rPr>
              <a:t>として取りまとめ</a:t>
            </a:r>
          </a:p>
        </p:txBody>
      </p:sp>
      <p:sp>
        <p:nvSpPr>
          <p:cNvPr id="36" name="Oval 35">
            <a:extLst>
              <a:ext uri="{FF2B5EF4-FFF2-40B4-BE49-F238E27FC236}">
                <a16:creationId xmlns:a16="http://schemas.microsoft.com/office/drawing/2014/main" id="{4467EA99-2C95-43E9-A1A3-6CB22F4EB575}"/>
              </a:ext>
            </a:extLst>
          </p:cNvPr>
          <p:cNvSpPr/>
          <p:nvPr/>
        </p:nvSpPr>
        <p:spPr>
          <a:xfrm>
            <a:off x="5109981" y="4614341"/>
            <a:ext cx="1710453" cy="898294"/>
          </a:xfrm>
          <a:prstGeom prst="ellipse">
            <a:avLst/>
          </a:prstGeom>
          <a:noFill/>
          <a:ln w="12700" cap="flat" cmpd="sng" algn="ctr">
            <a:solidFill>
              <a:srgbClr val="295E7E"/>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CFP</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に取り組むモデルケース</a:t>
            </a:r>
            <a:b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構築</a:t>
            </a:r>
            <a:endPar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7" name="Oval 36">
            <a:extLst>
              <a:ext uri="{FF2B5EF4-FFF2-40B4-BE49-F238E27FC236}">
                <a16:creationId xmlns:a16="http://schemas.microsoft.com/office/drawing/2014/main" id="{EA1C1C75-A286-4441-BA73-16A022640B19}"/>
              </a:ext>
            </a:extLst>
          </p:cNvPr>
          <p:cNvSpPr/>
          <p:nvPr/>
        </p:nvSpPr>
        <p:spPr>
          <a:xfrm>
            <a:off x="5119028" y="5906590"/>
            <a:ext cx="1693517" cy="908617"/>
          </a:xfrm>
          <a:prstGeom prst="ellipse">
            <a:avLst/>
          </a:prstGeom>
          <a:noFill/>
          <a:ln w="12700" cap="flat" cmpd="sng" algn="ctr">
            <a:solidFill>
              <a:srgbClr val="295E7E"/>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幅広い企業</a:t>
            </a:r>
            <a:endPar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a:p>
            <a:pPr algn="ct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への横展開</a:t>
            </a:r>
            <a:endPar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pic>
        <p:nvPicPr>
          <p:cNvPr id="33" name="図 11" descr="テーブル, ブラシ が含まれている画像&#10;&#10;自動的に生成された説明">
            <a:extLst>
              <a:ext uri="{FF2B5EF4-FFF2-40B4-BE49-F238E27FC236}">
                <a16:creationId xmlns:a16="http://schemas.microsoft.com/office/drawing/2014/main" id="{4618192C-34AA-4F45-9EFC-077FE9142D30}"/>
              </a:ext>
            </a:extLst>
          </p:cNvPr>
          <p:cNvPicPr>
            <a:picLocks noChangeAspect="1"/>
          </p:cNvPicPr>
          <p:nvPr/>
        </p:nvPicPr>
        <p:blipFill rotWithShape="1">
          <a:blip r:embed="rId5">
            <a:extLst>
              <a:ext uri="{28A0092B-C50C-407E-A947-70E740481C1C}">
                <a14:useLocalDpi xmlns:a14="http://schemas.microsoft.com/office/drawing/2010/main" val="0"/>
              </a:ext>
            </a:extLst>
          </a:blip>
          <a:srcRect l="15061" t="10025" r="15061" b="10025"/>
          <a:stretch/>
        </p:blipFill>
        <p:spPr>
          <a:xfrm>
            <a:off x="722390" y="5756213"/>
            <a:ext cx="1398137" cy="1066509"/>
          </a:xfrm>
          <a:prstGeom prst="rect">
            <a:avLst/>
          </a:prstGeom>
        </p:spPr>
      </p:pic>
      <p:pic>
        <p:nvPicPr>
          <p:cNvPr id="34" name="図 14" descr="作品, 座る, テーブル, 紙 が含まれている画像&#10;&#10;自動的に生成された説明">
            <a:extLst>
              <a:ext uri="{FF2B5EF4-FFF2-40B4-BE49-F238E27FC236}">
                <a16:creationId xmlns:a16="http://schemas.microsoft.com/office/drawing/2014/main" id="{19729C79-10DA-4C95-8277-AC686A0A055A}"/>
              </a:ext>
            </a:extLst>
          </p:cNvPr>
          <p:cNvPicPr>
            <a:picLocks noChangeAspect="1"/>
          </p:cNvPicPr>
          <p:nvPr/>
        </p:nvPicPr>
        <p:blipFill rotWithShape="1">
          <a:blip r:embed="rId6">
            <a:extLst>
              <a:ext uri="{28A0092B-C50C-407E-A947-70E740481C1C}">
                <a14:useLocalDpi xmlns:a14="http://schemas.microsoft.com/office/drawing/2010/main" val="0"/>
              </a:ext>
            </a:extLst>
          </a:blip>
          <a:srcRect t="8210" b="7287"/>
          <a:stretch/>
        </p:blipFill>
        <p:spPr>
          <a:xfrm>
            <a:off x="2773425" y="5508919"/>
            <a:ext cx="1149210" cy="1456664"/>
          </a:xfrm>
          <a:prstGeom prst="rect">
            <a:avLst/>
          </a:prstGeom>
        </p:spPr>
      </p:pic>
    </p:spTree>
    <p:extLst>
      <p:ext uri="{BB962C8B-B14F-4D97-AF65-F5344CB8AC3E}">
        <p14:creationId xmlns:p14="http://schemas.microsoft.com/office/powerpoint/2010/main" val="2415030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904376-EB65-4842-AAF1-B7268CA5AB03}"/>
              </a:ext>
            </a:extLst>
          </p:cNvPr>
          <p:cNvGraphicFramePr>
            <a:graphicFrameLocks noChangeAspect="1"/>
          </p:cNvGraphicFramePr>
          <p:nvPr>
            <p:custDataLst>
              <p:tags r:id="rId1"/>
            </p:custDataLst>
            <p:extLst>
              <p:ext uri="{D42A27DB-BD31-4B8C-83A1-F6EECF244321}">
                <p14:modId xmlns:p14="http://schemas.microsoft.com/office/powerpoint/2010/main" val="3336867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39904376-EB65-4842-AAF1-B7268CA5AB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7C2FFE-5CCA-4318-AD33-D6B42DE0DA51}"/>
              </a:ext>
            </a:extLst>
          </p:cNvPr>
          <p:cNvSpPr>
            <a:spLocks noGrp="1"/>
          </p:cNvSpPr>
          <p:nvPr>
            <p:ph type="title"/>
          </p:nvPr>
        </p:nvSpPr>
        <p:spPr/>
        <p:txBody>
          <a:bodyPr vert="horz"/>
          <a:lstStyle/>
          <a:p>
            <a:r>
              <a:rPr lang="ja-JP" altLang="en-US" dirty="0">
                <a:solidFill>
                  <a:srgbClr val="FFFFFF"/>
                </a:solidFill>
                <a:latin typeface="Trebuchet MS" panose="020B0603020202020204" pitchFamily="34" charset="0"/>
              </a:rPr>
              <a:t>募集する企業のパターン</a:t>
            </a:r>
            <a:endParaRPr lang="ja-JP" altLang="en-US" sz="2800" dirty="0">
              <a:solidFill>
                <a:srgbClr val="FFFFFF"/>
              </a:solidFill>
              <a:latin typeface="Trebuchet MS" panose="020B0603020202020204" pitchFamily="34" charset="0"/>
              <a:ea typeface="Meiryo UI" panose="020B0604030504040204" pitchFamily="50" charset="-128"/>
            </a:endParaRPr>
          </a:p>
        </p:txBody>
      </p:sp>
      <p:sp>
        <p:nvSpPr>
          <p:cNvPr id="3" name="Content Placeholder 2">
            <a:extLst>
              <a:ext uri="{FF2B5EF4-FFF2-40B4-BE49-F238E27FC236}">
                <a16:creationId xmlns:a16="http://schemas.microsoft.com/office/drawing/2014/main" id="{D4ECA76F-584D-46B7-BF51-21FF47C6EA41}"/>
              </a:ext>
            </a:extLst>
          </p:cNvPr>
          <p:cNvSpPr>
            <a:spLocks noGrp="1"/>
          </p:cNvSpPr>
          <p:nvPr>
            <p:ph sz="quarter" idx="13"/>
          </p:nvPr>
        </p:nvSpPr>
        <p:spPr>
          <a:xfrm>
            <a:off x="161925" y="1110920"/>
            <a:ext cx="10367963" cy="942717"/>
          </a:xfrm>
        </p:spPr>
        <p:txBody>
          <a:bodyPr/>
          <a:lstStyle/>
          <a:p>
            <a:pPr>
              <a:lnSpc>
                <a:spcPct val="100000"/>
              </a:lnSpc>
              <a:spcBef>
                <a:spcPts val="0"/>
              </a:spcBef>
              <a:spcAft>
                <a:spcPts val="0"/>
              </a:spcAft>
            </a:pPr>
            <a:r>
              <a:rPr lang="ja-JP" altLang="en-US" dirty="0"/>
              <a:t>応募企業の業態や希望する取組内容に応じ、</a:t>
            </a:r>
            <a:r>
              <a:rPr lang="en-US" altLang="ja-JP" dirty="0"/>
              <a:t>3</a:t>
            </a:r>
            <a:r>
              <a:rPr lang="ja-JP" altLang="en-US" dirty="0"/>
              <a:t>つのパターンから選択して応募</a:t>
            </a:r>
            <a:endParaRPr lang="en-US" altLang="ja-JP" dirty="0"/>
          </a:p>
          <a:p>
            <a:pPr>
              <a:lnSpc>
                <a:spcPct val="100000"/>
              </a:lnSpc>
              <a:spcBef>
                <a:spcPts val="0"/>
              </a:spcBef>
              <a:spcAft>
                <a:spcPts val="0"/>
              </a:spcAft>
            </a:pPr>
            <a:r>
              <a:rPr lang="ja-JP" altLang="en-US" dirty="0"/>
              <a:t>パターンごとに、本事業で目指す成果物や、参加要件が異なる</a:t>
            </a:r>
          </a:p>
        </p:txBody>
      </p:sp>
      <p:sp>
        <p:nvSpPr>
          <p:cNvPr id="38" name="Rectangle 27">
            <a:extLst>
              <a:ext uri="{FF2B5EF4-FFF2-40B4-BE49-F238E27FC236}">
                <a16:creationId xmlns:a16="http://schemas.microsoft.com/office/drawing/2014/main" id="{A7994666-BA56-4606-BE76-BD324532F711}"/>
              </a:ext>
            </a:extLst>
          </p:cNvPr>
          <p:cNvSpPr/>
          <p:nvPr/>
        </p:nvSpPr>
        <p:spPr>
          <a:xfrm>
            <a:off x="1391257" y="3475133"/>
            <a:ext cx="2936904" cy="630942"/>
          </a:xfrm>
          <a:prstGeom prst="rect">
            <a:avLst/>
          </a:prstGeom>
          <a:solidFill>
            <a:srgbClr val="FFFFFF"/>
          </a:solidFill>
          <a:ln>
            <a:noFill/>
          </a:ln>
          <a:effectLst>
            <a:outerShdw dist="10160" dir="5400000" algn="ctr" rotWithShape="0">
              <a:schemeClr val="tx1">
                <a:lumMod val="60000"/>
                <a:lumOff val="40000"/>
              </a:schemeClr>
            </a:outerShdw>
          </a:effectLst>
        </p:spPr>
        <p:txBody>
          <a:bodyPr wrap="square" lIns="27000" tIns="68580" rIns="27000" bIns="68580" anchor="b">
            <a:spAutoFit/>
          </a:body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パターン</a:t>
            </a:r>
            <a:r>
              <a:rPr lang="en-US" altLang="ja-JP" sz="1600" dirty="0">
                <a:solidFill>
                  <a:srgbClr val="295E7E"/>
                </a:solidFill>
                <a:latin typeface="Trebuchet MS" panose="020B0603020202020204" pitchFamily="34" charset="0"/>
                <a:ea typeface="Meiryo UI" panose="020B0604030504040204" pitchFamily="50" charset="-128"/>
              </a:rPr>
              <a:t>A-1.</a:t>
            </a:r>
          </a:p>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メーカー・サービス業の企業</a:t>
            </a:r>
            <a:endParaRPr lang="en-US" altLang="ja-JP" sz="1600" dirty="0">
              <a:solidFill>
                <a:srgbClr val="295E7E"/>
              </a:solidFill>
              <a:latin typeface="Trebuchet MS" panose="020B0603020202020204" pitchFamily="34" charset="0"/>
              <a:ea typeface="Meiryo UI" panose="020B0604030504040204" pitchFamily="50" charset="-128"/>
            </a:endParaRPr>
          </a:p>
        </p:txBody>
      </p:sp>
      <p:sp>
        <p:nvSpPr>
          <p:cNvPr id="39" name="Rectangle 22">
            <a:extLst>
              <a:ext uri="{FF2B5EF4-FFF2-40B4-BE49-F238E27FC236}">
                <a16:creationId xmlns:a16="http://schemas.microsoft.com/office/drawing/2014/main" id="{C2A8297F-781F-4D42-8329-D2857B2535E2}"/>
              </a:ext>
            </a:extLst>
          </p:cNvPr>
          <p:cNvSpPr/>
          <p:nvPr/>
        </p:nvSpPr>
        <p:spPr>
          <a:xfrm>
            <a:off x="4492121" y="3475133"/>
            <a:ext cx="2936904" cy="630942"/>
          </a:xfrm>
          <a:prstGeom prst="rect">
            <a:avLst/>
          </a:prstGeom>
          <a:solidFill>
            <a:srgbClr val="FFFFFF"/>
          </a:solidFill>
          <a:ln>
            <a:noFill/>
          </a:ln>
          <a:effectLst>
            <a:outerShdw dist="10160" dir="5400000" algn="ctr" rotWithShape="0">
              <a:schemeClr val="tx1">
                <a:lumMod val="60000"/>
                <a:lumOff val="40000"/>
              </a:schemeClr>
            </a:outerShdw>
          </a:effectLst>
        </p:spPr>
        <p:txBody>
          <a:bodyPr wrap="square" lIns="27000" tIns="68580" rIns="27000" bIns="68580" anchor="b">
            <a:spAutoFit/>
          </a:body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パターン</a:t>
            </a:r>
            <a:r>
              <a:rPr lang="en-US" altLang="ja-JP" sz="1600" dirty="0">
                <a:solidFill>
                  <a:srgbClr val="295E7E"/>
                </a:solidFill>
                <a:latin typeface="Trebuchet MS" panose="020B0603020202020204" pitchFamily="34" charset="0"/>
                <a:ea typeface="Meiryo UI" panose="020B0604030504040204" pitchFamily="50" charset="-128"/>
              </a:rPr>
              <a:t>A-2.</a:t>
            </a:r>
            <a:br>
              <a:rPr lang="en-US" altLang="ja-JP" sz="1600" dirty="0">
                <a:solidFill>
                  <a:srgbClr val="295E7E"/>
                </a:solidFill>
                <a:latin typeface="Trebuchet MS" panose="020B0603020202020204" pitchFamily="34" charset="0"/>
                <a:ea typeface="Meiryo UI" panose="020B0604030504040204" pitchFamily="50" charset="-128"/>
              </a:rPr>
            </a:br>
            <a:r>
              <a:rPr lang="ja-JP" altLang="en-US" sz="1600" dirty="0">
                <a:solidFill>
                  <a:srgbClr val="295E7E"/>
                </a:solidFill>
                <a:latin typeface="Trebuchet MS" panose="020B0603020202020204" pitchFamily="34" charset="0"/>
                <a:ea typeface="Meiryo UI" panose="020B0604030504040204" pitchFamily="50" charset="-128"/>
              </a:rPr>
              <a:t>メーカー等とパートナー企業</a:t>
            </a:r>
            <a:r>
              <a:rPr lang="en-US" altLang="ja-JP" sz="1600" baseline="30000" dirty="0">
                <a:solidFill>
                  <a:srgbClr val="295E7E"/>
                </a:solidFill>
                <a:latin typeface="Trebuchet MS" panose="020B0603020202020204" pitchFamily="34" charset="0"/>
                <a:ea typeface="Meiryo UI" panose="020B0604030504040204" pitchFamily="50" charset="-128"/>
              </a:rPr>
              <a:t>1</a:t>
            </a:r>
            <a:r>
              <a:rPr lang="ja-JP" altLang="en-US" sz="1600" dirty="0">
                <a:solidFill>
                  <a:srgbClr val="295E7E"/>
                </a:solidFill>
                <a:latin typeface="Trebuchet MS" panose="020B0603020202020204" pitchFamily="34" charset="0"/>
                <a:ea typeface="Meiryo UI" panose="020B0604030504040204" pitchFamily="50" charset="-128"/>
              </a:rPr>
              <a:t>の連携</a:t>
            </a:r>
          </a:p>
        </p:txBody>
      </p:sp>
      <p:sp>
        <p:nvSpPr>
          <p:cNvPr id="40" name="Rectangle 23">
            <a:extLst>
              <a:ext uri="{FF2B5EF4-FFF2-40B4-BE49-F238E27FC236}">
                <a16:creationId xmlns:a16="http://schemas.microsoft.com/office/drawing/2014/main" id="{75F6F0D5-6A00-4DA7-874F-4F94E581D76E}"/>
              </a:ext>
            </a:extLst>
          </p:cNvPr>
          <p:cNvSpPr/>
          <p:nvPr/>
        </p:nvSpPr>
        <p:spPr>
          <a:xfrm>
            <a:off x="7592985" y="3475133"/>
            <a:ext cx="2936904" cy="630942"/>
          </a:xfrm>
          <a:prstGeom prst="rect">
            <a:avLst/>
          </a:prstGeom>
          <a:solidFill>
            <a:srgbClr val="FFFFFF"/>
          </a:solidFill>
          <a:ln>
            <a:noFill/>
          </a:ln>
          <a:effectLst>
            <a:outerShdw dist="10160" dir="5400000" algn="ctr" rotWithShape="0">
              <a:schemeClr val="tx1">
                <a:lumMod val="60000"/>
                <a:lumOff val="40000"/>
              </a:schemeClr>
            </a:outerShdw>
          </a:effectLst>
        </p:spPr>
        <p:txBody>
          <a:bodyPr wrap="square" lIns="27000" tIns="68580" rIns="27000" bIns="68580" anchor="b">
            <a:spAutoFit/>
          </a:body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パターン</a:t>
            </a:r>
            <a:r>
              <a:rPr lang="en-US" altLang="ja-JP" sz="1600" dirty="0">
                <a:solidFill>
                  <a:srgbClr val="295E7E"/>
                </a:solidFill>
                <a:latin typeface="Trebuchet MS" panose="020B0603020202020204" pitchFamily="34" charset="0"/>
                <a:ea typeface="Meiryo UI" panose="020B0604030504040204" pitchFamily="50" charset="-128"/>
              </a:rPr>
              <a:t>B.</a:t>
            </a:r>
            <a:br>
              <a:rPr lang="en-US" altLang="ja-JP" sz="1600" dirty="0">
                <a:solidFill>
                  <a:srgbClr val="295E7E"/>
                </a:solidFill>
                <a:latin typeface="Trebuchet MS" panose="020B0603020202020204" pitchFamily="34" charset="0"/>
                <a:ea typeface="Meiryo UI" panose="020B0604030504040204" pitchFamily="50" charset="-128"/>
              </a:rPr>
            </a:br>
            <a:r>
              <a:rPr lang="ja-JP" altLang="en-US" sz="1600" dirty="0">
                <a:solidFill>
                  <a:srgbClr val="295E7E"/>
                </a:solidFill>
                <a:latin typeface="Trebuchet MS" panose="020B0603020202020204" pitchFamily="34" charset="0"/>
                <a:ea typeface="Meiryo UI" panose="020B0604030504040204" pitchFamily="50" charset="-128"/>
              </a:rPr>
              <a:t>小売企業</a:t>
            </a:r>
            <a:endParaRPr lang="en-US" altLang="ja-JP" sz="1600" dirty="0">
              <a:solidFill>
                <a:srgbClr val="295E7E"/>
              </a:solidFill>
              <a:latin typeface="Trebuchet MS" panose="020B0603020202020204" pitchFamily="34" charset="0"/>
              <a:ea typeface="Meiryo UI" panose="020B0604030504040204" pitchFamily="50" charset="-128"/>
            </a:endParaRPr>
          </a:p>
        </p:txBody>
      </p:sp>
      <p:sp>
        <p:nvSpPr>
          <p:cNvPr id="33" name="TextBox 14">
            <a:extLst>
              <a:ext uri="{FF2B5EF4-FFF2-40B4-BE49-F238E27FC236}">
                <a16:creationId xmlns:a16="http://schemas.microsoft.com/office/drawing/2014/main" id="{7BF72462-3D94-4C29-BEF1-853753AE2A00}"/>
              </a:ext>
            </a:extLst>
          </p:cNvPr>
          <p:cNvSpPr txBox="1"/>
          <p:nvPr/>
        </p:nvSpPr>
        <p:spPr>
          <a:xfrm>
            <a:off x="161925" y="5357477"/>
            <a:ext cx="1188410" cy="1174881"/>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ct val="90000"/>
              </a:lnSpc>
              <a:spcAft>
                <a:spcPts val="600"/>
              </a:spcAft>
            </a:pPr>
            <a:r>
              <a:rPr lang="ja-JP" altLang="en-US"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rPr>
              <a:t>本事業の想定する</a:t>
            </a:r>
            <a:br>
              <a:rPr lang="en-US" altLang="ja-JP"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rPr>
              <a:t>成果物</a:t>
            </a:r>
            <a:endParaRPr lang="en-US" altLang="ja-JP"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41" name="TextBox 14">
            <a:extLst>
              <a:ext uri="{FF2B5EF4-FFF2-40B4-BE49-F238E27FC236}">
                <a16:creationId xmlns:a16="http://schemas.microsoft.com/office/drawing/2014/main" id="{EB7FFB03-A10C-4966-B5AB-7309301BFF71}"/>
              </a:ext>
            </a:extLst>
          </p:cNvPr>
          <p:cNvSpPr txBox="1"/>
          <p:nvPr/>
        </p:nvSpPr>
        <p:spPr>
          <a:xfrm>
            <a:off x="1391256" y="5357477"/>
            <a:ext cx="6037769" cy="1651497"/>
          </a:xfrm>
          <a:prstGeom prst="rect">
            <a:avLst/>
          </a:prstGeom>
          <a:noFill/>
          <a:ln w="9525" cap="rnd" cmpd="sng" algn="ctr">
            <a:solidFill>
              <a:srgbClr val="4D4D4D"/>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288925" lvl="1" indent="-174625">
              <a:spcBef>
                <a:spcPct val="0"/>
              </a:spcBef>
              <a:spcAft>
                <a:spcPct val="0"/>
              </a:spcAft>
              <a:buClr>
                <a:schemeClr val="tx2"/>
              </a:buClr>
              <a:buFont typeface="Arial" panose="020B0604020202020204" pitchFamily="34" charset="0"/>
              <a:buChar char="•"/>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特定の製品の</a:t>
            </a:r>
            <a:r>
              <a:rPr lang="en-US" altLang="ja-JP"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CFP</a:t>
            </a:r>
          </a:p>
          <a:p>
            <a:pPr marL="288925" lvl="1" indent="-174625">
              <a:spcBef>
                <a:spcPct val="0"/>
              </a:spcBef>
              <a:spcAft>
                <a:spcPct val="0"/>
              </a:spcAft>
              <a:buClr>
                <a:schemeClr val="tx2"/>
              </a:buClr>
              <a:buFont typeface="Arial" panose="020B0604020202020204" pitchFamily="34" charset="0"/>
              <a:buChar char="•"/>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上記製品の排出削減目標</a:t>
            </a:r>
            <a:r>
              <a:rPr lang="en-US" altLang="ja-JP"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a:t>
            </a: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削減対策</a:t>
            </a:r>
            <a:endParaRPr lang="en-US" altLang="ja-JP" sz="1600" dirty="0">
              <a:solidFill>
                <a:srgbClr val="000000"/>
              </a:solidFill>
              <a:latin typeface="Arial" panose="020B0604020202020204" pitchFamily="34" charset="0"/>
              <a:ea typeface="Meiryo UI" panose="020B0604030504040204" pitchFamily="50" charset="-128"/>
              <a:sym typeface="Trebuchet MS" panose="020B0603020202020204" pitchFamily="34" charset="0"/>
            </a:endParaRPr>
          </a:p>
          <a:p>
            <a:pPr marL="288925" lvl="1" indent="-174625">
              <a:spcBef>
                <a:spcPct val="0"/>
              </a:spcBef>
              <a:spcAft>
                <a:spcPct val="0"/>
              </a:spcAft>
              <a:buClr>
                <a:schemeClr val="tx2"/>
              </a:buClr>
              <a:buFont typeface="Arial" panose="020B0604020202020204" pitchFamily="34" charset="0"/>
              <a:buChar char="•"/>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排出量や削減目標</a:t>
            </a:r>
            <a:r>
              <a:rPr lang="en-US" altLang="ja-JP"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a:t>
            </a: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対策の消費者に対する表示（見える化）方法やビジネスでの活用方策</a:t>
            </a:r>
            <a:endParaRPr lang="en-US" altLang="ja-JP" sz="1600" dirty="0">
              <a:solidFill>
                <a:srgbClr val="000000"/>
              </a:solidFill>
              <a:latin typeface="Arial" panose="020B0604020202020204" pitchFamily="34" charset="0"/>
              <a:ea typeface="Meiryo UI" panose="020B0604030504040204" pitchFamily="50" charset="-128"/>
              <a:sym typeface="Trebuchet MS" panose="020B0603020202020204" pitchFamily="34" charset="0"/>
            </a:endParaRPr>
          </a:p>
        </p:txBody>
      </p:sp>
      <p:sp>
        <p:nvSpPr>
          <p:cNvPr id="44" name="TextBox 14">
            <a:extLst>
              <a:ext uri="{FF2B5EF4-FFF2-40B4-BE49-F238E27FC236}">
                <a16:creationId xmlns:a16="http://schemas.microsoft.com/office/drawing/2014/main" id="{C34FE7C4-C53A-4B0B-89F4-3167D9CC1CB8}"/>
              </a:ext>
            </a:extLst>
          </p:cNvPr>
          <p:cNvSpPr txBox="1"/>
          <p:nvPr/>
        </p:nvSpPr>
        <p:spPr>
          <a:xfrm>
            <a:off x="7592985" y="5357477"/>
            <a:ext cx="2936904" cy="1651497"/>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商品のライフサイクル</a:t>
            </a:r>
            <a:r>
              <a:rPr lang="en-US" altLang="ja-JP"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GHG</a:t>
            </a:r>
            <a:r>
              <a:rPr lang="ja-JP" altLang="en-US"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排出量の基準 </a:t>
            </a:r>
            <a:r>
              <a:rPr lang="en-US" altLang="ja-JP"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a:t>
            </a:r>
            <a:r>
              <a:rPr lang="ja-JP" altLang="en-US"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調達基準・表示方法等</a:t>
            </a:r>
            <a:r>
              <a:rPr lang="en-US" altLang="ja-JP"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a:t>
            </a:r>
          </a:p>
          <a:p>
            <a:pPr marL="324000" lvl="1" indent="-216000">
              <a:buClr>
                <a:schemeClr val="tx2"/>
              </a:buClr>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rPr>
              <a:t>メーカーや卸売企業等に対する排出量算定・削減の依頼・要請・支援の行動計画</a:t>
            </a:r>
            <a:endParaRPr lang="en-US" altLang="ja-JP"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7" name="TextBox 14">
            <a:extLst>
              <a:ext uri="{FF2B5EF4-FFF2-40B4-BE49-F238E27FC236}">
                <a16:creationId xmlns:a16="http://schemas.microsoft.com/office/drawing/2014/main" id="{870E13C7-181F-4611-97B4-D6DE001964A2}"/>
              </a:ext>
            </a:extLst>
          </p:cNvPr>
          <p:cNvSpPr txBox="1"/>
          <p:nvPr/>
        </p:nvSpPr>
        <p:spPr>
          <a:xfrm>
            <a:off x="161925" y="4199801"/>
            <a:ext cx="1171129" cy="833387"/>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ct val="90000"/>
              </a:lnSpc>
              <a:spcAft>
                <a:spcPts val="600"/>
              </a:spcAft>
            </a:pPr>
            <a:r>
              <a:rPr lang="ja-JP" altLang="en-US"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rPr>
              <a:t>参加企業の要件</a:t>
            </a:r>
            <a:endParaRPr lang="en-US" altLang="ja-JP" sz="1600" dirty="0">
              <a:solidFill>
                <a:srgbClr val="3EAD92"/>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8" name="TextBox 14">
            <a:extLst>
              <a:ext uri="{FF2B5EF4-FFF2-40B4-BE49-F238E27FC236}">
                <a16:creationId xmlns:a16="http://schemas.microsoft.com/office/drawing/2014/main" id="{08AA19DE-D339-42F6-9652-B7AE890D0BCB}"/>
              </a:ext>
            </a:extLst>
          </p:cNvPr>
          <p:cNvSpPr txBox="1"/>
          <p:nvPr/>
        </p:nvSpPr>
        <p:spPr>
          <a:xfrm>
            <a:off x="1373975" y="4199801"/>
            <a:ext cx="2826137" cy="833387"/>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ct val="0"/>
              </a:spcBef>
              <a:spcAft>
                <a:spcPct val="0"/>
              </a:spcAft>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消費者が直接目にする製品・サービスを製造・提供する企業</a:t>
            </a:r>
          </a:p>
        </p:txBody>
      </p:sp>
      <p:sp>
        <p:nvSpPr>
          <p:cNvPr id="29" name="TextBox 14">
            <a:extLst>
              <a:ext uri="{FF2B5EF4-FFF2-40B4-BE49-F238E27FC236}">
                <a16:creationId xmlns:a16="http://schemas.microsoft.com/office/drawing/2014/main" id="{CDFADDD5-7582-490E-AC61-0DBC28CCCD37}"/>
              </a:ext>
            </a:extLst>
          </p:cNvPr>
          <p:cNvSpPr txBox="1"/>
          <p:nvPr/>
        </p:nvSpPr>
        <p:spPr>
          <a:xfrm>
            <a:off x="4492121" y="4199801"/>
            <a:ext cx="2936904" cy="833387"/>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ct val="0"/>
              </a:spcBef>
              <a:spcAft>
                <a:spcPct val="0"/>
              </a:spcAft>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消費者が直接目にする製品・サービスを製造・提供する企業を含めて、複数企業が連携</a:t>
            </a:r>
            <a:endParaRPr lang="en-US" altLang="ja-JP"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0" name="TextBox 14">
            <a:extLst>
              <a:ext uri="{FF2B5EF4-FFF2-40B4-BE49-F238E27FC236}">
                <a16:creationId xmlns:a16="http://schemas.microsoft.com/office/drawing/2014/main" id="{FC96A5C2-538E-43A0-8E12-F35FAA647EE8}"/>
              </a:ext>
            </a:extLst>
          </p:cNvPr>
          <p:cNvSpPr txBox="1"/>
          <p:nvPr/>
        </p:nvSpPr>
        <p:spPr>
          <a:xfrm>
            <a:off x="7592985" y="4199801"/>
            <a:ext cx="2936904" cy="833387"/>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ct val="0"/>
              </a:spcBef>
              <a:spcAft>
                <a:spcPct val="0"/>
              </a:spcAft>
            </a:pPr>
            <a:r>
              <a:rPr lang="ja-JP" altLang="en-US" sz="1600" dirty="0">
                <a:solidFill>
                  <a:srgbClr val="000000"/>
                </a:solidFill>
                <a:latin typeface="Arial" panose="020B0604020202020204" pitchFamily="34" charset="0"/>
                <a:ea typeface="Meiryo UI" panose="020B0604030504040204" pitchFamily="50" charset="-128"/>
                <a:sym typeface="Trebuchet MS" panose="020B0603020202020204" pitchFamily="34" charset="0"/>
              </a:rPr>
              <a:t>消費者向けに物品を販売する小売企業</a:t>
            </a:r>
            <a:endParaRPr lang="ja-JP" altLang="en-US" sz="1600" dirty="0">
              <a:solidFill>
                <a:schemeClr val="tx1"/>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31" name="直線コネクタ 132">
            <a:extLst>
              <a:ext uri="{FF2B5EF4-FFF2-40B4-BE49-F238E27FC236}">
                <a16:creationId xmlns:a16="http://schemas.microsoft.com/office/drawing/2014/main" id="{AB3B39E6-96FD-42AC-8C44-F7CD6CB8C710}"/>
              </a:ext>
            </a:extLst>
          </p:cNvPr>
          <p:cNvCxnSpPr>
            <a:cxnSpLocks/>
          </p:cNvCxnSpPr>
          <p:nvPr/>
        </p:nvCxnSpPr>
        <p:spPr>
          <a:xfrm>
            <a:off x="161925" y="5300624"/>
            <a:ext cx="1025403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43" name="Group 7">
            <a:extLst>
              <a:ext uri="{FF2B5EF4-FFF2-40B4-BE49-F238E27FC236}">
                <a16:creationId xmlns:a16="http://schemas.microsoft.com/office/drawing/2014/main" id="{5DB94706-0CC9-41EF-B749-26B92CC8727A}"/>
              </a:ext>
            </a:extLst>
          </p:cNvPr>
          <p:cNvGrpSpPr>
            <a:grpSpLocks noChangeAspect="1"/>
          </p:cNvGrpSpPr>
          <p:nvPr/>
        </p:nvGrpSpPr>
        <p:grpSpPr>
          <a:xfrm>
            <a:off x="1391257" y="2485738"/>
            <a:ext cx="942336" cy="942336"/>
            <a:chOff x="5273675" y="2606675"/>
            <a:chExt cx="1644650" cy="1644650"/>
          </a:xfrm>
        </p:grpSpPr>
        <p:sp>
          <p:nvSpPr>
            <p:cNvPr id="50" name="AutoShape 3">
              <a:extLst>
                <a:ext uri="{FF2B5EF4-FFF2-40B4-BE49-F238E27FC236}">
                  <a16:creationId xmlns:a16="http://schemas.microsoft.com/office/drawing/2014/main" id="{C0E69E34-4036-4053-A84C-6ED0406423B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9">
              <a:extLst>
                <a:ext uri="{FF2B5EF4-FFF2-40B4-BE49-F238E27FC236}">
                  <a16:creationId xmlns:a16="http://schemas.microsoft.com/office/drawing/2014/main" id="{A77590D6-39C7-4EBB-85A2-F6540A8344C8}"/>
                </a:ext>
              </a:extLst>
            </p:cNvPr>
            <p:cNvGrpSpPr/>
            <p:nvPr/>
          </p:nvGrpSpPr>
          <p:grpSpPr>
            <a:xfrm>
              <a:off x="5672138" y="2674937"/>
              <a:ext cx="849313" cy="1406526"/>
              <a:chOff x="5672138" y="2674937"/>
              <a:chExt cx="849313" cy="1406526"/>
            </a:xfrm>
          </p:grpSpPr>
          <p:sp>
            <p:nvSpPr>
              <p:cNvPr id="52" name="Freeform 10">
                <a:extLst>
                  <a:ext uri="{FF2B5EF4-FFF2-40B4-BE49-F238E27FC236}">
                    <a16:creationId xmlns:a16="http://schemas.microsoft.com/office/drawing/2014/main" id="{3C9C8AEB-FB92-4F34-85C4-ED914979F9A3}"/>
                  </a:ext>
                </a:extLst>
              </p:cNvPr>
              <p:cNvSpPr>
                <a:spLocks/>
              </p:cNvSpPr>
              <p:nvPr/>
            </p:nvSpPr>
            <p:spPr bwMode="auto">
              <a:xfrm>
                <a:off x="5672138" y="2890838"/>
                <a:ext cx="849313" cy="1190625"/>
              </a:xfrm>
              <a:custGeom>
                <a:avLst/>
                <a:gdLst>
                  <a:gd name="connsiteX0" fmla="*/ 67803 w 849313"/>
                  <a:gd name="connsiteY0" fmla="*/ 1079500 h 1190625"/>
                  <a:gd name="connsiteX1" fmla="*/ 781511 w 849313"/>
                  <a:gd name="connsiteY1" fmla="*/ 1079500 h 1190625"/>
                  <a:gd name="connsiteX2" fmla="*/ 795785 w 849313"/>
                  <a:gd name="connsiteY2" fmla="*/ 1093747 h 1190625"/>
                  <a:gd name="connsiteX3" fmla="*/ 795785 w 849313"/>
                  <a:gd name="connsiteY3" fmla="*/ 1112268 h 1190625"/>
                  <a:gd name="connsiteX4" fmla="*/ 835753 w 849313"/>
                  <a:gd name="connsiteY4" fmla="*/ 1112268 h 1190625"/>
                  <a:gd name="connsiteX5" fmla="*/ 849313 w 849313"/>
                  <a:gd name="connsiteY5" fmla="*/ 1125802 h 1190625"/>
                  <a:gd name="connsiteX6" fmla="*/ 849313 w 849313"/>
                  <a:gd name="connsiteY6" fmla="*/ 1177091 h 1190625"/>
                  <a:gd name="connsiteX7" fmla="*/ 835753 w 849313"/>
                  <a:gd name="connsiteY7" fmla="*/ 1190625 h 1190625"/>
                  <a:gd name="connsiteX8" fmla="*/ 13561 w 849313"/>
                  <a:gd name="connsiteY8" fmla="*/ 1190625 h 1190625"/>
                  <a:gd name="connsiteX9" fmla="*/ 0 w 849313"/>
                  <a:gd name="connsiteY9" fmla="*/ 1177091 h 1190625"/>
                  <a:gd name="connsiteX10" fmla="*/ 0 w 849313"/>
                  <a:gd name="connsiteY10" fmla="*/ 1125802 h 1190625"/>
                  <a:gd name="connsiteX11" fmla="*/ 13561 w 849313"/>
                  <a:gd name="connsiteY11" fmla="*/ 1112268 h 1190625"/>
                  <a:gd name="connsiteX12" fmla="*/ 53528 w 849313"/>
                  <a:gd name="connsiteY12" fmla="*/ 1112268 h 1190625"/>
                  <a:gd name="connsiteX13" fmla="*/ 53528 w 849313"/>
                  <a:gd name="connsiteY13" fmla="*/ 1093747 h 1190625"/>
                  <a:gd name="connsiteX14" fmla="*/ 67803 w 849313"/>
                  <a:gd name="connsiteY14" fmla="*/ 1079500 h 1190625"/>
                  <a:gd name="connsiteX15" fmla="*/ 157630 w 849313"/>
                  <a:gd name="connsiteY15" fmla="*/ 31750 h 1190625"/>
                  <a:gd name="connsiteX16" fmla="*/ 147637 w 849313"/>
                  <a:gd name="connsiteY16" fmla="*/ 44450 h 1190625"/>
                  <a:gd name="connsiteX17" fmla="*/ 700087 w 849313"/>
                  <a:gd name="connsiteY17" fmla="*/ 44450 h 1190625"/>
                  <a:gd name="connsiteX18" fmla="*/ 690095 w 849313"/>
                  <a:gd name="connsiteY18" fmla="*/ 31750 h 1190625"/>
                  <a:gd name="connsiteX19" fmla="*/ 157630 w 849313"/>
                  <a:gd name="connsiteY19" fmla="*/ 31750 h 1190625"/>
                  <a:gd name="connsiteX20" fmla="*/ 149065 w 849313"/>
                  <a:gd name="connsiteY20" fmla="*/ 0 h 1190625"/>
                  <a:gd name="connsiteX21" fmla="*/ 698660 w 849313"/>
                  <a:gd name="connsiteY21" fmla="*/ 0 h 1190625"/>
                  <a:gd name="connsiteX22" fmla="*/ 711507 w 849313"/>
                  <a:gd name="connsiteY22" fmla="*/ 6424 h 1190625"/>
                  <a:gd name="connsiteX23" fmla="*/ 737916 w 849313"/>
                  <a:gd name="connsiteY23" fmla="*/ 44965 h 1190625"/>
                  <a:gd name="connsiteX24" fmla="*/ 776460 w 849313"/>
                  <a:gd name="connsiteY24" fmla="*/ 44965 h 1190625"/>
                  <a:gd name="connsiteX25" fmla="*/ 792162 w 849313"/>
                  <a:gd name="connsiteY25" fmla="*/ 60667 h 1190625"/>
                  <a:gd name="connsiteX26" fmla="*/ 792162 w 849313"/>
                  <a:gd name="connsiteY26" fmla="*/ 101349 h 1190625"/>
                  <a:gd name="connsiteX27" fmla="*/ 776460 w 849313"/>
                  <a:gd name="connsiteY27" fmla="*/ 117051 h 1190625"/>
                  <a:gd name="connsiteX28" fmla="*/ 771463 w 849313"/>
                  <a:gd name="connsiteY28" fmla="*/ 117051 h 1190625"/>
                  <a:gd name="connsiteX29" fmla="*/ 771463 w 849313"/>
                  <a:gd name="connsiteY29" fmla="*/ 1047750 h 1190625"/>
                  <a:gd name="connsiteX30" fmla="*/ 740058 w 849313"/>
                  <a:gd name="connsiteY30" fmla="*/ 1047750 h 1190625"/>
                  <a:gd name="connsiteX31" fmla="*/ 740058 w 849313"/>
                  <a:gd name="connsiteY31" fmla="*/ 101349 h 1190625"/>
                  <a:gd name="connsiteX32" fmla="*/ 755760 w 849313"/>
                  <a:gd name="connsiteY32" fmla="*/ 85647 h 1190625"/>
                  <a:gd name="connsiteX33" fmla="*/ 760757 w 849313"/>
                  <a:gd name="connsiteY33" fmla="*/ 85647 h 1190625"/>
                  <a:gd name="connsiteX34" fmla="*/ 760757 w 849313"/>
                  <a:gd name="connsiteY34" fmla="*/ 76369 h 1190625"/>
                  <a:gd name="connsiteX35" fmla="*/ 86968 w 849313"/>
                  <a:gd name="connsiteY35" fmla="*/ 76369 h 1190625"/>
                  <a:gd name="connsiteX36" fmla="*/ 86968 w 849313"/>
                  <a:gd name="connsiteY36" fmla="*/ 85647 h 1190625"/>
                  <a:gd name="connsiteX37" fmla="*/ 91964 w 849313"/>
                  <a:gd name="connsiteY37" fmla="*/ 85647 h 1190625"/>
                  <a:gd name="connsiteX38" fmla="*/ 107667 w 849313"/>
                  <a:gd name="connsiteY38" fmla="*/ 101349 h 1190625"/>
                  <a:gd name="connsiteX39" fmla="*/ 107667 w 849313"/>
                  <a:gd name="connsiteY39" fmla="*/ 1047750 h 1190625"/>
                  <a:gd name="connsiteX40" fmla="*/ 76261 w 849313"/>
                  <a:gd name="connsiteY40" fmla="*/ 1047750 h 1190625"/>
                  <a:gd name="connsiteX41" fmla="*/ 76261 w 849313"/>
                  <a:gd name="connsiteY41" fmla="*/ 117051 h 1190625"/>
                  <a:gd name="connsiteX42" fmla="*/ 71265 w 849313"/>
                  <a:gd name="connsiteY42" fmla="*/ 117051 h 1190625"/>
                  <a:gd name="connsiteX43" fmla="*/ 55562 w 849313"/>
                  <a:gd name="connsiteY43" fmla="*/ 101349 h 1190625"/>
                  <a:gd name="connsiteX44" fmla="*/ 55562 w 849313"/>
                  <a:gd name="connsiteY44" fmla="*/ 60667 h 1190625"/>
                  <a:gd name="connsiteX45" fmla="*/ 71265 w 849313"/>
                  <a:gd name="connsiteY45" fmla="*/ 44965 h 1190625"/>
                  <a:gd name="connsiteX46" fmla="*/ 109808 w 849313"/>
                  <a:gd name="connsiteY46" fmla="*/ 44965 h 1190625"/>
                  <a:gd name="connsiteX47" fmla="*/ 136217 w 849313"/>
                  <a:gd name="connsiteY47" fmla="*/ 6424 h 1190625"/>
                  <a:gd name="connsiteX48" fmla="*/ 149065 w 849313"/>
                  <a:gd name="connsiteY48"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9313" h="1190625">
                    <a:moveTo>
                      <a:pt x="67803" y="1079500"/>
                    </a:moveTo>
                    <a:cubicBezTo>
                      <a:pt x="67803" y="1079500"/>
                      <a:pt x="67803" y="1079500"/>
                      <a:pt x="781511" y="1079500"/>
                    </a:cubicBezTo>
                    <a:cubicBezTo>
                      <a:pt x="789362" y="1079500"/>
                      <a:pt x="795785" y="1085911"/>
                      <a:pt x="795785" y="1093747"/>
                    </a:cubicBezTo>
                    <a:cubicBezTo>
                      <a:pt x="795785" y="1093747"/>
                      <a:pt x="795785" y="1093747"/>
                      <a:pt x="795785" y="1112268"/>
                    </a:cubicBezTo>
                    <a:cubicBezTo>
                      <a:pt x="795785" y="1112268"/>
                      <a:pt x="795785" y="1112268"/>
                      <a:pt x="835753" y="1112268"/>
                    </a:cubicBezTo>
                    <a:cubicBezTo>
                      <a:pt x="843604" y="1112268"/>
                      <a:pt x="849313" y="1117966"/>
                      <a:pt x="849313" y="1125802"/>
                    </a:cubicBezTo>
                    <a:cubicBezTo>
                      <a:pt x="849313" y="1125802"/>
                      <a:pt x="849313" y="1125802"/>
                      <a:pt x="849313" y="1177091"/>
                    </a:cubicBezTo>
                    <a:cubicBezTo>
                      <a:pt x="849313" y="1184926"/>
                      <a:pt x="843604" y="1190625"/>
                      <a:pt x="835753" y="1190625"/>
                    </a:cubicBezTo>
                    <a:cubicBezTo>
                      <a:pt x="835753" y="1190625"/>
                      <a:pt x="835753" y="1190625"/>
                      <a:pt x="13561" y="1190625"/>
                    </a:cubicBezTo>
                    <a:cubicBezTo>
                      <a:pt x="5710" y="1190625"/>
                      <a:pt x="0" y="1184926"/>
                      <a:pt x="0" y="1177091"/>
                    </a:cubicBezTo>
                    <a:cubicBezTo>
                      <a:pt x="0" y="1177091"/>
                      <a:pt x="0" y="1177091"/>
                      <a:pt x="0" y="1125802"/>
                    </a:cubicBezTo>
                    <a:cubicBezTo>
                      <a:pt x="0" y="1117966"/>
                      <a:pt x="5710" y="1112268"/>
                      <a:pt x="13561" y="1112268"/>
                    </a:cubicBezTo>
                    <a:cubicBezTo>
                      <a:pt x="13561" y="1112268"/>
                      <a:pt x="13561" y="1112268"/>
                      <a:pt x="53528" y="1112268"/>
                    </a:cubicBezTo>
                    <a:cubicBezTo>
                      <a:pt x="53528" y="1112268"/>
                      <a:pt x="53528" y="1112268"/>
                      <a:pt x="53528" y="1093747"/>
                    </a:cubicBezTo>
                    <a:cubicBezTo>
                      <a:pt x="53528" y="1085911"/>
                      <a:pt x="59952" y="1079500"/>
                      <a:pt x="67803" y="1079500"/>
                    </a:cubicBezTo>
                    <a:close/>
                    <a:moveTo>
                      <a:pt x="157630" y="31750"/>
                    </a:moveTo>
                    <a:cubicBezTo>
                      <a:pt x="157630" y="31750"/>
                      <a:pt x="157630" y="31750"/>
                      <a:pt x="147637" y="44450"/>
                    </a:cubicBezTo>
                    <a:cubicBezTo>
                      <a:pt x="147637" y="44450"/>
                      <a:pt x="147637" y="44450"/>
                      <a:pt x="700087" y="44450"/>
                    </a:cubicBezTo>
                    <a:cubicBezTo>
                      <a:pt x="700087" y="44450"/>
                      <a:pt x="700087" y="44450"/>
                      <a:pt x="690095" y="31750"/>
                    </a:cubicBezTo>
                    <a:cubicBezTo>
                      <a:pt x="690095" y="31750"/>
                      <a:pt x="690095" y="31750"/>
                      <a:pt x="157630" y="31750"/>
                    </a:cubicBezTo>
                    <a:close/>
                    <a:moveTo>
                      <a:pt x="149065" y="0"/>
                    </a:moveTo>
                    <a:cubicBezTo>
                      <a:pt x="149065" y="0"/>
                      <a:pt x="149065" y="0"/>
                      <a:pt x="698660" y="0"/>
                    </a:cubicBezTo>
                    <a:cubicBezTo>
                      <a:pt x="703656" y="0"/>
                      <a:pt x="708652" y="2141"/>
                      <a:pt x="711507" y="6424"/>
                    </a:cubicBezTo>
                    <a:cubicBezTo>
                      <a:pt x="711507" y="6424"/>
                      <a:pt x="711507" y="6424"/>
                      <a:pt x="737916" y="44965"/>
                    </a:cubicBezTo>
                    <a:cubicBezTo>
                      <a:pt x="737916" y="44965"/>
                      <a:pt x="737916" y="44965"/>
                      <a:pt x="776460" y="44965"/>
                    </a:cubicBezTo>
                    <a:cubicBezTo>
                      <a:pt x="785738" y="44965"/>
                      <a:pt x="792162" y="52102"/>
                      <a:pt x="792162" y="60667"/>
                    </a:cubicBezTo>
                    <a:cubicBezTo>
                      <a:pt x="792162" y="60667"/>
                      <a:pt x="792162" y="60667"/>
                      <a:pt x="792162" y="101349"/>
                    </a:cubicBezTo>
                    <a:cubicBezTo>
                      <a:pt x="792162" y="109914"/>
                      <a:pt x="785738" y="117051"/>
                      <a:pt x="776460" y="117051"/>
                    </a:cubicBezTo>
                    <a:cubicBezTo>
                      <a:pt x="776460" y="117051"/>
                      <a:pt x="776460" y="117051"/>
                      <a:pt x="771463" y="117051"/>
                    </a:cubicBezTo>
                    <a:cubicBezTo>
                      <a:pt x="771463" y="117051"/>
                      <a:pt x="771463" y="117051"/>
                      <a:pt x="771463" y="1047750"/>
                    </a:cubicBezTo>
                    <a:cubicBezTo>
                      <a:pt x="771463" y="1047750"/>
                      <a:pt x="771463" y="1047750"/>
                      <a:pt x="740058" y="1047750"/>
                    </a:cubicBezTo>
                    <a:cubicBezTo>
                      <a:pt x="740058" y="1047750"/>
                      <a:pt x="740058" y="1047750"/>
                      <a:pt x="740058" y="101349"/>
                    </a:cubicBezTo>
                    <a:cubicBezTo>
                      <a:pt x="740058" y="92785"/>
                      <a:pt x="747195" y="85647"/>
                      <a:pt x="755760" y="85647"/>
                    </a:cubicBezTo>
                    <a:cubicBezTo>
                      <a:pt x="755760" y="85647"/>
                      <a:pt x="755760" y="85647"/>
                      <a:pt x="760757" y="85647"/>
                    </a:cubicBezTo>
                    <a:cubicBezTo>
                      <a:pt x="760757" y="85647"/>
                      <a:pt x="760757" y="85647"/>
                      <a:pt x="760757" y="76369"/>
                    </a:cubicBezTo>
                    <a:cubicBezTo>
                      <a:pt x="760757" y="76369"/>
                      <a:pt x="760757" y="76369"/>
                      <a:pt x="86968" y="76369"/>
                    </a:cubicBezTo>
                    <a:cubicBezTo>
                      <a:pt x="86968" y="76369"/>
                      <a:pt x="86968" y="76369"/>
                      <a:pt x="86968" y="85647"/>
                    </a:cubicBezTo>
                    <a:cubicBezTo>
                      <a:pt x="86968" y="85647"/>
                      <a:pt x="86968" y="85647"/>
                      <a:pt x="91964" y="85647"/>
                    </a:cubicBezTo>
                    <a:cubicBezTo>
                      <a:pt x="100529" y="85647"/>
                      <a:pt x="107667" y="92785"/>
                      <a:pt x="107667" y="101349"/>
                    </a:cubicBezTo>
                    <a:cubicBezTo>
                      <a:pt x="107667" y="101349"/>
                      <a:pt x="107667" y="101349"/>
                      <a:pt x="107667" y="1047750"/>
                    </a:cubicBezTo>
                    <a:cubicBezTo>
                      <a:pt x="107667" y="1047750"/>
                      <a:pt x="107667" y="1047750"/>
                      <a:pt x="76261" y="1047750"/>
                    </a:cubicBezTo>
                    <a:cubicBezTo>
                      <a:pt x="76261" y="1047750"/>
                      <a:pt x="76261" y="1047750"/>
                      <a:pt x="76261" y="117051"/>
                    </a:cubicBezTo>
                    <a:cubicBezTo>
                      <a:pt x="76261" y="117051"/>
                      <a:pt x="76261" y="117051"/>
                      <a:pt x="71265" y="117051"/>
                    </a:cubicBezTo>
                    <a:cubicBezTo>
                      <a:pt x="61986" y="117051"/>
                      <a:pt x="55562" y="109914"/>
                      <a:pt x="55562" y="101349"/>
                    </a:cubicBezTo>
                    <a:cubicBezTo>
                      <a:pt x="55562" y="101349"/>
                      <a:pt x="55562" y="101349"/>
                      <a:pt x="55562" y="60667"/>
                    </a:cubicBezTo>
                    <a:cubicBezTo>
                      <a:pt x="55562" y="52102"/>
                      <a:pt x="61986" y="44965"/>
                      <a:pt x="71265" y="44965"/>
                    </a:cubicBezTo>
                    <a:cubicBezTo>
                      <a:pt x="71265" y="44965"/>
                      <a:pt x="71265" y="44965"/>
                      <a:pt x="109808" y="44965"/>
                    </a:cubicBezTo>
                    <a:cubicBezTo>
                      <a:pt x="109808" y="44965"/>
                      <a:pt x="109808" y="44965"/>
                      <a:pt x="136217" y="6424"/>
                    </a:cubicBezTo>
                    <a:cubicBezTo>
                      <a:pt x="139072" y="2141"/>
                      <a:pt x="144068" y="0"/>
                      <a:pt x="14906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1">
                <a:extLst>
                  <a:ext uri="{FF2B5EF4-FFF2-40B4-BE49-F238E27FC236}">
                    <a16:creationId xmlns:a16="http://schemas.microsoft.com/office/drawing/2014/main" id="{BF287467-CC7E-48BE-82A9-ED89BD11DD06}"/>
                  </a:ext>
                </a:extLst>
              </p:cNvPr>
              <p:cNvSpPr>
                <a:spLocks/>
              </p:cNvSpPr>
              <p:nvPr/>
            </p:nvSpPr>
            <p:spPr bwMode="auto">
              <a:xfrm>
                <a:off x="5835650" y="2674937"/>
                <a:ext cx="520701" cy="1263650"/>
              </a:xfrm>
              <a:custGeom>
                <a:avLst/>
                <a:gdLst>
                  <a:gd name="connsiteX0" fmla="*/ 280205 w 520701"/>
                  <a:gd name="connsiteY0" fmla="*/ 1050925 h 1263650"/>
                  <a:gd name="connsiteX1" fmla="*/ 418295 w 520701"/>
                  <a:gd name="connsiteY1" fmla="*/ 1050925 h 1263650"/>
                  <a:gd name="connsiteX2" fmla="*/ 425450 w 520701"/>
                  <a:gd name="connsiteY2" fmla="*/ 1058064 h 1263650"/>
                  <a:gd name="connsiteX3" fmla="*/ 425450 w 520701"/>
                  <a:gd name="connsiteY3" fmla="*/ 1256512 h 1263650"/>
                  <a:gd name="connsiteX4" fmla="*/ 418295 w 520701"/>
                  <a:gd name="connsiteY4" fmla="*/ 1263650 h 1263650"/>
                  <a:gd name="connsiteX5" fmla="*/ 280205 w 520701"/>
                  <a:gd name="connsiteY5" fmla="*/ 1263650 h 1263650"/>
                  <a:gd name="connsiteX6" fmla="*/ 273050 w 520701"/>
                  <a:gd name="connsiteY6" fmla="*/ 1256512 h 1263650"/>
                  <a:gd name="connsiteX7" fmla="*/ 273050 w 520701"/>
                  <a:gd name="connsiteY7" fmla="*/ 1058064 h 1263650"/>
                  <a:gd name="connsiteX8" fmla="*/ 280205 w 520701"/>
                  <a:gd name="connsiteY8" fmla="*/ 1050925 h 1263650"/>
                  <a:gd name="connsiteX9" fmla="*/ 102405 w 520701"/>
                  <a:gd name="connsiteY9" fmla="*/ 1050925 h 1263650"/>
                  <a:gd name="connsiteX10" fmla="*/ 240495 w 520701"/>
                  <a:gd name="connsiteY10" fmla="*/ 1050925 h 1263650"/>
                  <a:gd name="connsiteX11" fmla="*/ 247650 w 520701"/>
                  <a:gd name="connsiteY11" fmla="*/ 1058064 h 1263650"/>
                  <a:gd name="connsiteX12" fmla="*/ 247650 w 520701"/>
                  <a:gd name="connsiteY12" fmla="*/ 1256512 h 1263650"/>
                  <a:gd name="connsiteX13" fmla="*/ 240495 w 520701"/>
                  <a:gd name="connsiteY13" fmla="*/ 1263650 h 1263650"/>
                  <a:gd name="connsiteX14" fmla="*/ 102405 w 520701"/>
                  <a:gd name="connsiteY14" fmla="*/ 1263650 h 1263650"/>
                  <a:gd name="connsiteX15" fmla="*/ 95250 w 520701"/>
                  <a:gd name="connsiteY15" fmla="*/ 1256512 h 1263650"/>
                  <a:gd name="connsiteX16" fmla="*/ 95250 w 520701"/>
                  <a:gd name="connsiteY16" fmla="*/ 1058064 h 1263650"/>
                  <a:gd name="connsiteX17" fmla="*/ 102405 w 520701"/>
                  <a:gd name="connsiteY17" fmla="*/ 1050925 h 1263650"/>
                  <a:gd name="connsiteX18" fmla="*/ 373839 w 520701"/>
                  <a:gd name="connsiteY18" fmla="*/ 771525 h 1263650"/>
                  <a:gd name="connsiteX19" fmla="*/ 485001 w 520701"/>
                  <a:gd name="connsiteY19" fmla="*/ 771525 h 1263650"/>
                  <a:gd name="connsiteX20" fmla="*/ 492126 w 520701"/>
                  <a:gd name="connsiteY20" fmla="*/ 778682 h 1263650"/>
                  <a:gd name="connsiteX21" fmla="*/ 492126 w 520701"/>
                  <a:gd name="connsiteY21" fmla="*/ 938993 h 1263650"/>
                  <a:gd name="connsiteX22" fmla="*/ 485001 w 520701"/>
                  <a:gd name="connsiteY22" fmla="*/ 946150 h 1263650"/>
                  <a:gd name="connsiteX23" fmla="*/ 373839 w 520701"/>
                  <a:gd name="connsiteY23" fmla="*/ 946150 h 1263650"/>
                  <a:gd name="connsiteX24" fmla="*/ 366713 w 520701"/>
                  <a:gd name="connsiteY24" fmla="*/ 938993 h 1263650"/>
                  <a:gd name="connsiteX25" fmla="*/ 366713 w 520701"/>
                  <a:gd name="connsiteY25" fmla="*/ 778682 h 1263650"/>
                  <a:gd name="connsiteX26" fmla="*/ 373839 w 520701"/>
                  <a:gd name="connsiteY26" fmla="*/ 771525 h 1263650"/>
                  <a:gd name="connsiteX27" fmla="*/ 205555 w 520701"/>
                  <a:gd name="connsiteY27" fmla="*/ 771525 h 1263650"/>
                  <a:gd name="connsiteX28" fmla="*/ 315147 w 520701"/>
                  <a:gd name="connsiteY28" fmla="*/ 771525 h 1263650"/>
                  <a:gd name="connsiteX29" fmla="*/ 322263 w 520701"/>
                  <a:gd name="connsiteY29" fmla="*/ 778682 h 1263650"/>
                  <a:gd name="connsiteX30" fmla="*/ 322263 w 520701"/>
                  <a:gd name="connsiteY30" fmla="*/ 938993 h 1263650"/>
                  <a:gd name="connsiteX31" fmla="*/ 315147 w 520701"/>
                  <a:gd name="connsiteY31" fmla="*/ 946150 h 1263650"/>
                  <a:gd name="connsiteX32" fmla="*/ 205555 w 520701"/>
                  <a:gd name="connsiteY32" fmla="*/ 946150 h 1263650"/>
                  <a:gd name="connsiteX33" fmla="*/ 198438 w 520701"/>
                  <a:gd name="connsiteY33" fmla="*/ 938993 h 1263650"/>
                  <a:gd name="connsiteX34" fmla="*/ 198438 w 520701"/>
                  <a:gd name="connsiteY34" fmla="*/ 778682 h 1263650"/>
                  <a:gd name="connsiteX35" fmla="*/ 205555 w 520701"/>
                  <a:gd name="connsiteY35" fmla="*/ 771525 h 1263650"/>
                  <a:gd name="connsiteX36" fmla="*/ 35700 w 520701"/>
                  <a:gd name="connsiteY36" fmla="*/ 771525 h 1263650"/>
                  <a:gd name="connsiteX37" fmla="*/ 146862 w 520701"/>
                  <a:gd name="connsiteY37" fmla="*/ 771525 h 1263650"/>
                  <a:gd name="connsiteX38" fmla="*/ 153988 w 520701"/>
                  <a:gd name="connsiteY38" fmla="*/ 778682 h 1263650"/>
                  <a:gd name="connsiteX39" fmla="*/ 153988 w 520701"/>
                  <a:gd name="connsiteY39" fmla="*/ 938993 h 1263650"/>
                  <a:gd name="connsiteX40" fmla="*/ 146862 w 520701"/>
                  <a:gd name="connsiteY40" fmla="*/ 946150 h 1263650"/>
                  <a:gd name="connsiteX41" fmla="*/ 35700 w 520701"/>
                  <a:gd name="connsiteY41" fmla="*/ 946150 h 1263650"/>
                  <a:gd name="connsiteX42" fmla="*/ 28575 w 520701"/>
                  <a:gd name="connsiteY42" fmla="*/ 938993 h 1263650"/>
                  <a:gd name="connsiteX43" fmla="*/ 28575 w 520701"/>
                  <a:gd name="connsiteY43" fmla="*/ 778682 h 1263650"/>
                  <a:gd name="connsiteX44" fmla="*/ 35700 w 520701"/>
                  <a:gd name="connsiteY44" fmla="*/ 771525 h 1263650"/>
                  <a:gd name="connsiteX45" fmla="*/ 373839 w 520701"/>
                  <a:gd name="connsiteY45" fmla="*/ 563562 h 1263650"/>
                  <a:gd name="connsiteX46" fmla="*/ 485001 w 520701"/>
                  <a:gd name="connsiteY46" fmla="*/ 563562 h 1263650"/>
                  <a:gd name="connsiteX47" fmla="*/ 492126 w 520701"/>
                  <a:gd name="connsiteY47" fmla="*/ 570719 h 1263650"/>
                  <a:gd name="connsiteX48" fmla="*/ 492126 w 520701"/>
                  <a:gd name="connsiteY48" fmla="*/ 731030 h 1263650"/>
                  <a:gd name="connsiteX49" fmla="*/ 485001 w 520701"/>
                  <a:gd name="connsiteY49" fmla="*/ 738187 h 1263650"/>
                  <a:gd name="connsiteX50" fmla="*/ 373839 w 520701"/>
                  <a:gd name="connsiteY50" fmla="*/ 738187 h 1263650"/>
                  <a:gd name="connsiteX51" fmla="*/ 366713 w 520701"/>
                  <a:gd name="connsiteY51" fmla="*/ 731030 h 1263650"/>
                  <a:gd name="connsiteX52" fmla="*/ 366713 w 520701"/>
                  <a:gd name="connsiteY52" fmla="*/ 570719 h 1263650"/>
                  <a:gd name="connsiteX53" fmla="*/ 373839 w 520701"/>
                  <a:gd name="connsiteY53" fmla="*/ 563562 h 1263650"/>
                  <a:gd name="connsiteX54" fmla="*/ 205555 w 520701"/>
                  <a:gd name="connsiteY54" fmla="*/ 563562 h 1263650"/>
                  <a:gd name="connsiteX55" fmla="*/ 315147 w 520701"/>
                  <a:gd name="connsiteY55" fmla="*/ 563562 h 1263650"/>
                  <a:gd name="connsiteX56" fmla="*/ 322263 w 520701"/>
                  <a:gd name="connsiteY56" fmla="*/ 570719 h 1263650"/>
                  <a:gd name="connsiteX57" fmla="*/ 322263 w 520701"/>
                  <a:gd name="connsiteY57" fmla="*/ 731030 h 1263650"/>
                  <a:gd name="connsiteX58" fmla="*/ 315147 w 520701"/>
                  <a:gd name="connsiteY58" fmla="*/ 738187 h 1263650"/>
                  <a:gd name="connsiteX59" fmla="*/ 205555 w 520701"/>
                  <a:gd name="connsiteY59" fmla="*/ 738187 h 1263650"/>
                  <a:gd name="connsiteX60" fmla="*/ 198438 w 520701"/>
                  <a:gd name="connsiteY60" fmla="*/ 731030 h 1263650"/>
                  <a:gd name="connsiteX61" fmla="*/ 198438 w 520701"/>
                  <a:gd name="connsiteY61" fmla="*/ 570719 h 1263650"/>
                  <a:gd name="connsiteX62" fmla="*/ 205555 w 520701"/>
                  <a:gd name="connsiteY62" fmla="*/ 563562 h 1263650"/>
                  <a:gd name="connsiteX63" fmla="*/ 35700 w 520701"/>
                  <a:gd name="connsiteY63" fmla="*/ 563562 h 1263650"/>
                  <a:gd name="connsiteX64" fmla="*/ 146862 w 520701"/>
                  <a:gd name="connsiteY64" fmla="*/ 563562 h 1263650"/>
                  <a:gd name="connsiteX65" fmla="*/ 153988 w 520701"/>
                  <a:gd name="connsiteY65" fmla="*/ 570719 h 1263650"/>
                  <a:gd name="connsiteX66" fmla="*/ 153988 w 520701"/>
                  <a:gd name="connsiteY66" fmla="*/ 731030 h 1263650"/>
                  <a:gd name="connsiteX67" fmla="*/ 146862 w 520701"/>
                  <a:gd name="connsiteY67" fmla="*/ 738187 h 1263650"/>
                  <a:gd name="connsiteX68" fmla="*/ 35700 w 520701"/>
                  <a:gd name="connsiteY68" fmla="*/ 738187 h 1263650"/>
                  <a:gd name="connsiteX69" fmla="*/ 28575 w 520701"/>
                  <a:gd name="connsiteY69" fmla="*/ 731030 h 1263650"/>
                  <a:gd name="connsiteX70" fmla="*/ 28575 w 520701"/>
                  <a:gd name="connsiteY70" fmla="*/ 570719 h 1263650"/>
                  <a:gd name="connsiteX71" fmla="*/ 35700 w 520701"/>
                  <a:gd name="connsiteY71" fmla="*/ 563562 h 1263650"/>
                  <a:gd name="connsiteX72" fmla="*/ 373839 w 520701"/>
                  <a:gd name="connsiteY72" fmla="*/ 357187 h 1263650"/>
                  <a:gd name="connsiteX73" fmla="*/ 485001 w 520701"/>
                  <a:gd name="connsiteY73" fmla="*/ 357187 h 1263650"/>
                  <a:gd name="connsiteX74" fmla="*/ 492126 w 520701"/>
                  <a:gd name="connsiteY74" fmla="*/ 364279 h 1263650"/>
                  <a:gd name="connsiteX75" fmla="*/ 492126 w 520701"/>
                  <a:gd name="connsiteY75" fmla="*/ 523133 h 1263650"/>
                  <a:gd name="connsiteX76" fmla="*/ 485001 w 520701"/>
                  <a:gd name="connsiteY76" fmla="*/ 530225 h 1263650"/>
                  <a:gd name="connsiteX77" fmla="*/ 373839 w 520701"/>
                  <a:gd name="connsiteY77" fmla="*/ 530225 h 1263650"/>
                  <a:gd name="connsiteX78" fmla="*/ 366713 w 520701"/>
                  <a:gd name="connsiteY78" fmla="*/ 523133 h 1263650"/>
                  <a:gd name="connsiteX79" fmla="*/ 366713 w 520701"/>
                  <a:gd name="connsiteY79" fmla="*/ 364279 h 1263650"/>
                  <a:gd name="connsiteX80" fmla="*/ 373839 w 520701"/>
                  <a:gd name="connsiteY80" fmla="*/ 357187 h 1263650"/>
                  <a:gd name="connsiteX81" fmla="*/ 205555 w 520701"/>
                  <a:gd name="connsiteY81" fmla="*/ 357187 h 1263650"/>
                  <a:gd name="connsiteX82" fmla="*/ 315147 w 520701"/>
                  <a:gd name="connsiteY82" fmla="*/ 357187 h 1263650"/>
                  <a:gd name="connsiteX83" fmla="*/ 322263 w 520701"/>
                  <a:gd name="connsiteY83" fmla="*/ 364279 h 1263650"/>
                  <a:gd name="connsiteX84" fmla="*/ 322263 w 520701"/>
                  <a:gd name="connsiteY84" fmla="*/ 523133 h 1263650"/>
                  <a:gd name="connsiteX85" fmla="*/ 315147 w 520701"/>
                  <a:gd name="connsiteY85" fmla="*/ 530225 h 1263650"/>
                  <a:gd name="connsiteX86" fmla="*/ 205555 w 520701"/>
                  <a:gd name="connsiteY86" fmla="*/ 530225 h 1263650"/>
                  <a:gd name="connsiteX87" fmla="*/ 198438 w 520701"/>
                  <a:gd name="connsiteY87" fmla="*/ 523133 h 1263650"/>
                  <a:gd name="connsiteX88" fmla="*/ 198438 w 520701"/>
                  <a:gd name="connsiteY88" fmla="*/ 364279 h 1263650"/>
                  <a:gd name="connsiteX89" fmla="*/ 205555 w 520701"/>
                  <a:gd name="connsiteY89" fmla="*/ 357187 h 1263650"/>
                  <a:gd name="connsiteX90" fmla="*/ 35700 w 520701"/>
                  <a:gd name="connsiteY90" fmla="*/ 357187 h 1263650"/>
                  <a:gd name="connsiteX91" fmla="*/ 146862 w 520701"/>
                  <a:gd name="connsiteY91" fmla="*/ 357187 h 1263650"/>
                  <a:gd name="connsiteX92" fmla="*/ 153988 w 520701"/>
                  <a:gd name="connsiteY92" fmla="*/ 364279 h 1263650"/>
                  <a:gd name="connsiteX93" fmla="*/ 153988 w 520701"/>
                  <a:gd name="connsiteY93" fmla="*/ 523133 h 1263650"/>
                  <a:gd name="connsiteX94" fmla="*/ 146862 w 520701"/>
                  <a:gd name="connsiteY94" fmla="*/ 530225 h 1263650"/>
                  <a:gd name="connsiteX95" fmla="*/ 35700 w 520701"/>
                  <a:gd name="connsiteY95" fmla="*/ 530225 h 1263650"/>
                  <a:gd name="connsiteX96" fmla="*/ 28575 w 520701"/>
                  <a:gd name="connsiteY96" fmla="*/ 523133 h 1263650"/>
                  <a:gd name="connsiteX97" fmla="*/ 28575 w 520701"/>
                  <a:gd name="connsiteY97" fmla="*/ 364279 h 1263650"/>
                  <a:gd name="connsiteX98" fmla="*/ 35700 w 520701"/>
                  <a:gd name="connsiteY98" fmla="*/ 357187 h 1263650"/>
                  <a:gd name="connsiteX99" fmla="*/ 439738 w 520701"/>
                  <a:gd name="connsiteY99" fmla="*/ 36512 h 1263650"/>
                  <a:gd name="connsiteX100" fmla="*/ 460376 w 520701"/>
                  <a:gd name="connsiteY100" fmla="*/ 93662 h 1263650"/>
                  <a:gd name="connsiteX101" fmla="*/ 520701 w 520701"/>
                  <a:gd name="connsiteY101" fmla="*/ 93662 h 1263650"/>
                  <a:gd name="connsiteX102" fmla="*/ 469901 w 520701"/>
                  <a:gd name="connsiteY102" fmla="*/ 130175 h 1263650"/>
                  <a:gd name="connsiteX103" fmla="*/ 490539 w 520701"/>
                  <a:gd name="connsiteY103" fmla="*/ 180975 h 1263650"/>
                  <a:gd name="connsiteX104" fmla="*/ 439738 w 520701"/>
                  <a:gd name="connsiteY104" fmla="*/ 150813 h 1263650"/>
                  <a:gd name="connsiteX105" fmla="*/ 393701 w 520701"/>
                  <a:gd name="connsiteY105" fmla="*/ 180975 h 1263650"/>
                  <a:gd name="connsiteX106" fmla="*/ 414338 w 520701"/>
                  <a:gd name="connsiteY106" fmla="*/ 130175 h 1263650"/>
                  <a:gd name="connsiteX107" fmla="*/ 366713 w 520701"/>
                  <a:gd name="connsiteY107" fmla="*/ 93662 h 1263650"/>
                  <a:gd name="connsiteX108" fmla="*/ 423863 w 520701"/>
                  <a:gd name="connsiteY108" fmla="*/ 93662 h 1263650"/>
                  <a:gd name="connsiteX109" fmla="*/ 80963 w 520701"/>
                  <a:gd name="connsiteY109" fmla="*/ 36512 h 1263650"/>
                  <a:gd name="connsiteX110" fmla="*/ 96838 w 520701"/>
                  <a:gd name="connsiteY110" fmla="*/ 93662 h 1263650"/>
                  <a:gd name="connsiteX111" fmla="*/ 157163 w 520701"/>
                  <a:gd name="connsiteY111" fmla="*/ 93662 h 1263650"/>
                  <a:gd name="connsiteX112" fmla="*/ 106363 w 520701"/>
                  <a:gd name="connsiteY112" fmla="*/ 130175 h 1263650"/>
                  <a:gd name="connsiteX113" fmla="*/ 127000 w 520701"/>
                  <a:gd name="connsiteY113" fmla="*/ 180975 h 1263650"/>
                  <a:gd name="connsiteX114" fmla="*/ 80963 w 520701"/>
                  <a:gd name="connsiteY114" fmla="*/ 150813 h 1263650"/>
                  <a:gd name="connsiteX115" fmla="*/ 30162 w 520701"/>
                  <a:gd name="connsiteY115" fmla="*/ 180975 h 1263650"/>
                  <a:gd name="connsiteX116" fmla="*/ 50800 w 520701"/>
                  <a:gd name="connsiteY116" fmla="*/ 130175 h 1263650"/>
                  <a:gd name="connsiteX117" fmla="*/ 0 w 520701"/>
                  <a:gd name="connsiteY117" fmla="*/ 93662 h 1263650"/>
                  <a:gd name="connsiteX118" fmla="*/ 60325 w 520701"/>
                  <a:gd name="connsiteY118" fmla="*/ 93662 h 1263650"/>
                  <a:gd name="connsiteX119" fmla="*/ 260351 w 520701"/>
                  <a:gd name="connsiteY119" fmla="*/ 0 h 1263650"/>
                  <a:gd name="connsiteX120" fmla="*/ 284163 w 520701"/>
                  <a:gd name="connsiteY120" fmla="*/ 69850 h 1263650"/>
                  <a:gd name="connsiteX121" fmla="*/ 357188 w 520701"/>
                  <a:gd name="connsiteY121" fmla="*/ 69850 h 1263650"/>
                  <a:gd name="connsiteX122" fmla="*/ 296863 w 520701"/>
                  <a:gd name="connsiteY122" fmla="*/ 115888 h 1263650"/>
                  <a:gd name="connsiteX123" fmla="*/ 320676 w 520701"/>
                  <a:gd name="connsiteY123" fmla="*/ 180975 h 1263650"/>
                  <a:gd name="connsiteX124" fmla="*/ 260351 w 520701"/>
                  <a:gd name="connsiteY124" fmla="*/ 142875 h 1263650"/>
                  <a:gd name="connsiteX125" fmla="*/ 200026 w 520701"/>
                  <a:gd name="connsiteY125" fmla="*/ 180975 h 1263650"/>
                  <a:gd name="connsiteX126" fmla="*/ 223838 w 520701"/>
                  <a:gd name="connsiteY126" fmla="*/ 115888 h 1263650"/>
                  <a:gd name="connsiteX127" fmla="*/ 163513 w 520701"/>
                  <a:gd name="connsiteY127" fmla="*/ 69850 h 1263650"/>
                  <a:gd name="connsiteX128" fmla="*/ 236538 w 520701"/>
                  <a:gd name="connsiteY128" fmla="*/ 69850 h 126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20701" h="1263650">
                    <a:moveTo>
                      <a:pt x="280205" y="1050925"/>
                    </a:moveTo>
                    <a:cubicBezTo>
                      <a:pt x="280205" y="1050925"/>
                      <a:pt x="280205" y="1050925"/>
                      <a:pt x="418295" y="1050925"/>
                    </a:cubicBezTo>
                    <a:cubicBezTo>
                      <a:pt x="422588" y="1050925"/>
                      <a:pt x="425450" y="1054494"/>
                      <a:pt x="425450" y="1058064"/>
                    </a:cubicBezTo>
                    <a:cubicBezTo>
                      <a:pt x="425450" y="1058064"/>
                      <a:pt x="425450" y="1058064"/>
                      <a:pt x="425450" y="1256512"/>
                    </a:cubicBezTo>
                    <a:cubicBezTo>
                      <a:pt x="425450" y="1260795"/>
                      <a:pt x="422588" y="1263650"/>
                      <a:pt x="418295" y="1263650"/>
                    </a:cubicBezTo>
                    <a:cubicBezTo>
                      <a:pt x="418295" y="1263650"/>
                      <a:pt x="418295" y="1263650"/>
                      <a:pt x="280205" y="1263650"/>
                    </a:cubicBezTo>
                    <a:cubicBezTo>
                      <a:pt x="276628" y="1263650"/>
                      <a:pt x="273050" y="1260795"/>
                      <a:pt x="273050" y="1256512"/>
                    </a:cubicBezTo>
                    <a:cubicBezTo>
                      <a:pt x="273050" y="1256512"/>
                      <a:pt x="273050" y="1256512"/>
                      <a:pt x="273050" y="1058064"/>
                    </a:cubicBezTo>
                    <a:cubicBezTo>
                      <a:pt x="273050" y="1054494"/>
                      <a:pt x="276628" y="1050925"/>
                      <a:pt x="280205" y="1050925"/>
                    </a:cubicBezTo>
                    <a:close/>
                    <a:moveTo>
                      <a:pt x="102405" y="1050925"/>
                    </a:moveTo>
                    <a:cubicBezTo>
                      <a:pt x="102405" y="1050925"/>
                      <a:pt x="102405" y="1050925"/>
                      <a:pt x="240495" y="1050925"/>
                    </a:cubicBezTo>
                    <a:cubicBezTo>
                      <a:pt x="244073" y="1050925"/>
                      <a:pt x="247650" y="1054494"/>
                      <a:pt x="247650" y="1058064"/>
                    </a:cubicBezTo>
                    <a:cubicBezTo>
                      <a:pt x="247650" y="1058064"/>
                      <a:pt x="247650" y="1058064"/>
                      <a:pt x="247650" y="1256512"/>
                    </a:cubicBezTo>
                    <a:cubicBezTo>
                      <a:pt x="247650" y="1260795"/>
                      <a:pt x="244073" y="1263650"/>
                      <a:pt x="240495" y="1263650"/>
                    </a:cubicBezTo>
                    <a:cubicBezTo>
                      <a:pt x="240495" y="1263650"/>
                      <a:pt x="240495" y="1263650"/>
                      <a:pt x="102405" y="1263650"/>
                    </a:cubicBezTo>
                    <a:cubicBezTo>
                      <a:pt x="98112" y="1263650"/>
                      <a:pt x="95250" y="1260795"/>
                      <a:pt x="95250" y="1256512"/>
                    </a:cubicBezTo>
                    <a:cubicBezTo>
                      <a:pt x="95250" y="1256512"/>
                      <a:pt x="95250" y="1256512"/>
                      <a:pt x="95250" y="1058064"/>
                    </a:cubicBezTo>
                    <a:cubicBezTo>
                      <a:pt x="95250" y="1054494"/>
                      <a:pt x="98112" y="1050925"/>
                      <a:pt x="102405" y="1050925"/>
                    </a:cubicBezTo>
                    <a:close/>
                    <a:moveTo>
                      <a:pt x="373839" y="771525"/>
                    </a:moveTo>
                    <a:cubicBezTo>
                      <a:pt x="373839" y="771525"/>
                      <a:pt x="373839" y="771525"/>
                      <a:pt x="485001" y="771525"/>
                    </a:cubicBezTo>
                    <a:cubicBezTo>
                      <a:pt x="489276" y="771525"/>
                      <a:pt x="492126" y="775104"/>
                      <a:pt x="492126" y="778682"/>
                    </a:cubicBezTo>
                    <a:cubicBezTo>
                      <a:pt x="492126" y="778682"/>
                      <a:pt x="492126" y="778682"/>
                      <a:pt x="492126" y="938993"/>
                    </a:cubicBezTo>
                    <a:cubicBezTo>
                      <a:pt x="492126" y="943287"/>
                      <a:pt x="489276" y="946150"/>
                      <a:pt x="485001" y="946150"/>
                    </a:cubicBezTo>
                    <a:cubicBezTo>
                      <a:pt x="485001" y="946150"/>
                      <a:pt x="485001" y="946150"/>
                      <a:pt x="373839" y="946150"/>
                    </a:cubicBezTo>
                    <a:cubicBezTo>
                      <a:pt x="370276" y="946150"/>
                      <a:pt x="366713" y="943287"/>
                      <a:pt x="366713" y="938993"/>
                    </a:cubicBezTo>
                    <a:cubicBezTo>
                      <a:pt x="366713" y="938993"/>
                      <a:pt x="366713" y="938993"/>
                      <a:pt x="366713" y="778682"/>
                    </a:cubicBezTo>
                    <a:cubicBezTo>
                      <a:pt x="366713" y="775104"/>
                      <a:pt x="370276" y="771525"/>
                      <a:pt x="373839" y="771525"/>
                    </a:cubicBezTo>
                    <a:close/>
                    <a:moveTo>
                      <a:pt x="205555" y="771525"/>
                    </a:moveTo>
                    <a:cubicBezTo>
                      <a:pt x="205555" y="771525"/>
                      <a:pt x="205555" y="771525"/>
                      <a:pt x="315147" y="771525"/>
                    </a:cubicBezTo>
                    <a:cubicBezTo>
                      <a:pt x="319417" y="771525"/>
                      <a:pt x="322263" y="775104"/>
                      <a:pt x="322263" y="778682"/>
                    </a:cubicBezTo>
                    <a:cubicBezTo>
                      <a:pt x="322263" y="778682"/>
                      <a:pt x="322263" y="778682"/>
                      <a:pt x="322263" y="938993"/>
                    </a:cubicBezTo>
                    <a:cubicBezTo>
                      <a:pt x="322263" y="943287"/>
                      <a:pt x="319417" y="946150"/>
                      <a:pt x="315147" y="946150"/>
                    </a:cubicBezTo>
                    <a:cubicBezTo>
                      <a:pt x="315147" y="946150"/>
                      <a:pt x="315147" y="946150"/>
                      <a:pt x="205555" y="946150"/>
                    </a:cubicBezTo>
                    <a:cubicBezTo>
                      <a:pt x="201285" y="946150"/>
                      <a:pt x="198438" y="943287"/>
                      <a:pt x="198438" y="938993"/>
                    </a:cubicBezTo>
                    <a:cubicBezTo>
                      <a:pt x="198438" y="938993"/>
                      <a:pt x="198438" y="938993"/>
                      <a:pt x="198438" y="778682"/>
                    </a:cubicBezTo>
                    <a:cubicBezTo>
                      <a:pt x="198438" y="775104"/>
                      <a:pt x="201285" y="771525"/>
                      <a:pt x="205555" y="771525"/>
                    </a:cubicBezTo>
                    <a:close/>
                    <a:moveTo>
                      <a:pt x="35700" y="771525"/>
                    </a:moveTo>
                    <a:cubicBezTo>
                      <a:pt x="35700" y="771525"/>
                      <a:pt x="35700" y="771525"/>
                      <a:pt x="146862" y="771525"/>
                    </a:cubicBezTo>
                    <a:cubicBezTo>
                      <a:pt x="150425" y="771525"/>
                      <a:pt x="153988" y="775104"/>
                      <a:pt x="153988" y="778682"/>
                    </a:cubicBezTo>
                    <a:cubicBezTo>
                      <a:pt x="153988" y="778682"/>
                      <a:pt x="153988" y="778682"/>
                      <a:pt x="153988" y="938993"/>
                    </a:cubicBezTo>
                    <a:cubicBezTo>
                      <a:pt x="153988" y="943287"/>
                      <a:pt x="150425" y="946150"/>
                      <a:pt x="146862" y="946150"/>
                    </a:cubicBezTo>
                    <a:cubicBezTo>
                      <a:pt x="146862" y="946150"/>
                      <a:pt x="146862" y="946150"/>
                      <a:pt x="35700" y="946150"/>
                    </a:cubicBezTo>
                    <a:cubicBezTo>
                      <a:pt x="31425" y="946150"/>
                      <a:pt x="28575" y="943287"/>
                      <a:pt x="28575" y="938993"/>
                    </a:cubicBezTo>
                    <a:cubicBezTo>
                      <a:pt x="28575" y="938993"/>
                      <a:pt x="28575" y="938993"/>
                      <a:pt x="28575" y="778682"/>
                    </a:cubicBezTo>
                    <a:cubicBezTo>
                      <a:pt x="28575" y="775104"/>
                      <a:pt x="31425" y="771525"/>
                      <a:pt x="35700" y="771525"/>
                    </a:cubicBezTo>
                    <a:close/>
                    <a:moveTo>
                      <a:pt x="373839" y="563562"/>
                    </a:moveTo>
                    <a:cubicBezTo>
                      <a:pt x="373839" y="563562"/>
                      <a:pt x="373839" y="563562"/>
                      <a:pt x="485001" y="563562"/>
                    </a:cubicBezTo>
                    <a:cubicBezTo>
                      <a:pt x="489276" y="563562"/>
                      <a:pt x="492126" y="566425"/>
                      <a:pt x="492126" y="570719"/>
                    </a:cubicBezTo>
                    <a:cubicBezTo>
                      <a:pt x="492126" y="570719"/>
                      <a:pt x="492126" y="570719"/>
                      <a:pt x="492126" y="731030"/>
                    </a:cubicBezTo>
                    <a:cubicBezTo>
                      <a:pt x="492126" y="734609"/>
                      <a:pt x="489276" y="738187"/>
                      <a:pt x="485001" y="738187"/>
                    </a:cubicBezTo>
                    <a:cubicBezTo>
                      <a:pt x="485001" y="738187"/>
                      <a:pt x="485001" y="738187"/>
                      <a:pt x="373839" y="738187"/>
                    </a:cubicBezTo>
                    <a:cubicBezTo>
                      <a:pt x="370276" y="738187"/>
                      <a:pt x="366713" y="734609"/>
                      <a:pt x="366713" y="731030"/>
                    </a:cubicBezTo>
                    <a:cubicBezTo>
                      <a:pt x="366713" y="731030"/>
                      <a:pt x="366713" y="731030"/>
                      <a:pt x="366713" y="570719"/>
                    </a:cubicBezTo>
                    <a:cubicBezTo>
                      <a:pt x="366713" y="566425"/>
                      <a:pt x="370276" y="563562"/>
                      <a:pt x="373839" y="563562"/>
                    </a:cubicBezTo>
                    <a:close/>
                    <a:moveTo>
                      <a:pt x="205555" y="563562"/>
                    </a:moveTo>
                    <a:cubicBezTo>
                      <a:pt x="205555" y="563562"/>
                      <a:pt x="205555" y="563562"/>
                      <a:pt x="315147" y="563562"/>
                    </a:cubicBezTo>
                    <a:cubicBezTo>
                      <a:pt x="319417" y="563562"/>
                      <a:pt x="322263" y="566425"/>
                      <a:pt x="322263" y="570719"/>
                    </a:cubicBezTo>
                    <a:cubicBezTo>
                      <a:pt x="322263" y="731030"/>
                      <a:pt x="322263" y="731030"/>
                      <a:pt x="322263" y="731030"/>
                    </a:cubicBezTo>
                    <a:cubicBezTo>
                      <a:pt x="322263" y="734609"/>
                      <a:pt x="319417" y="738187"/>
                      <a:pt x="315147" y="738187"/>
                    </a:cubicBezTo>
                    <a:cubicBezTo>
                      <a:pt x="315147" y="738187"/>
                      <a:pt x="315147" y="738187"/>
                      <a:pt x="205555" y="738187"/>
                    </a:cubicBezTo>
                    <a:cubicBezTo>
                      <a:pt x="201285" y="738187"/>
                      <a:pt x="198438" y="734609"/>
                      <a:pt x="198438" y="731030"/>
                    </a:cubicBezTo>
                    <a:cubicBezTo>
                      <a:pt x="198438" y="731030"/>
                      <a:pt x="198438" y="731030"/>
                      <a:pt x="198438" y="570719"/>
                    </a:cubicBezTo>
                    <a:cubicBezTo>
                      <a:pt x="198438" y="566425"/>
                      <a:pt x="201285" y="563562"/>
                      <a:pt x="205555" y="563562"/>
                    </a:cubicBezTo>
                    <a:close/>
                    <a:moveTo>
                      <a:pt x="35700" y="563562"/>
                    </a:moveTo>
                    <a:cubicBezTo>
                      <a:pt x="35700" y="563562"/>
                      <a:pt x="35700" y="563562"/>
                      <a:pt x="146862" y="563562"/>
                    </a:cubicBezTo>
                    <a:cubicBezTo>
                      <a:pt x="150425" y="563562"/>
                      <a:pt x="153988" y="566425"/>
                      <a:pt x="153988" y="570719"/>
                    </a:cubicBezTo>
                    <a:cubicBezTo>
                      <a:pt x="153988" y="570719"/>
                      <a:pt x="153988" y="570719"/>
                      <a:pt x="153988" y="731030"/>
                    </a:cubicBezTo>
                    <a:cubicBezTo>
                      <a:pt x="153988" y="734609"/>
                      <a:pt x="150425" y="738187"/>
                      <a:pt x="146862" y="738187"/>
                    </a:cubicBezTo>
                    <a:cubicBezTo>
                      <a:pt x="146862" y="738187"/>
                      <a:pt x="146862" y="738187"/>
                      <a:pt x="35700" y="738187"/>
                    </a:cubicBezTo>
                    <a:cubicBezTo>
                      <a:pt x="31425" y="738187"/>
                      <a:pt x="28575" y="734609"/>
                      <a:pt x="28575" y="731030"/>
                    </a:cubicBezTo>
                    <a:cubicBezTo>
                      <a:pt x="28575" y="731030"/>
                      <a:pt x="28575" y="731030"/>
                      <a:pt x="28575" y="570719"/>
                    </a:cubicBezTo>
                    <a:cubicBezTo>
                      <a:pt x="28575" y="566425"/>
                      <a:pt x="31425" y="563562"/>
                      <a:pt x="35700" y="563562"/>
                    </a:cubicBezTo>
                    <a:close/>
                    <a:moveTo>
                      <a:pt x="373839" y="357187"/>
                    </a:moveTo>
                    <a:cubicBezTo>
                      <a:pt x="373839" y="357187"/>
                      <a:pt x="373839" y="357187"/>
                      <a:pt x="485001" y="357187"/>
                    </a:cubicBezTo>
                    <a:cubicBezTo>
                      <a:pt x="489276" y="357187"/>
                      <a:pt x="492126" y="360733"/>
                      <a:pt x="492126" y="364279"/>
                    </a:cubicBezTo>
                    <a:cubicBezTo>
                      <a:pt x="492126" y="364279"/>
                      <a:pt x="492126" y="364279"/>
                      <a:pt x="492126" y="523133"/>
                    </a:cubicBezTo>
                    <a:cubicBezTo>
                      <a:pt x="492126" y="527388"/>
                      <a:pt x="489276" y="530225"/>
                      <a:pt x="485001" y="530225"/>
                    </a:cubicBezTo>
                    <a:cubicBezTo>
                      <a:pt x="485001" y="530225"/>
                      <a:pt x="485001" y="530225"/>
                      <a:pt x="373839" y="530225"/>
                    </a:cubicBezTo>
                    <a:cubicBezTo>
                      <a:pt x="370276" y="530225"/>
                      <a:pt x="366713" y="527388"/>
                      <a:pt x="366713" y="523133"/>
                    </a:cubicBezTo>
                    <a:cubicBezTo>
                      <a:pt x="366713" y="523133"/>
                      <a:pt x="366713" y="523133"/>
                      <a:pt x="366713" y="364279"/>
                    </a:cubicBezTo>
                    <a:cubicBezTo>
                      <a:pt x="366713" y="360733"/>
                      <a:pt x="370276" y="357187"/>
                      <a:pt x="373839" y="357187"/>
                    </a:cubicBezTo>
                    <a:close/>
                    <a:moveTo>
                      <a:pt x="205555" y="357187"/>
                    </a:moveTo>
                    <a:cubicBezTo>
                      <a:pt x="205555" y="357187"/>
                      <a:pt x="205555" y="357187"/>
                      <a:pt x="315147" y="357187"/>
                    </a:cubicBezTo>
                    <a:cubicBezTo>
                      <a:pt x="319417" y="357187"/>
                      <a:pt x="322263" y="360733"/>
                      <a:pt x="322263" y="364279"/>
                    </a:cubicBezTo>
                    <a:cubicBezTo>
                      <a:pt x="322263" y="523133"/>
                      <a:pt x="322263" y="523133"/>
                      <a:pt x="322263" y="523133"/>
                    </a:cubicBezTo>
                    <a:cubicBezTo>
                      <a:pt x="322263" y="527388"/>
                      <a:pt x="319417" y="530225"/>
                      <a:pt x="315147" y="530225"/>
                    </a:cubicBezTo>
                    <a:cubicBezTo>
                      <a:pt x="315147" y="530225"/>
                      <a:pt x="315147" y="530225"/>
                      <a:pt x="205555" y="530225"/>
                    </a:cubicBezTo>
                    <a:cubicBezTo>
                      <a:pt x="201285" y="530225"/>
                      <a:pt x="198438" y="527388"/>
                      <a:pt x="198438" y="523133"/>
                    </a:cubicBezTo>
                    <a:cubicBezTo>
                      <a:pt x="198438" y="523133"/>
                      <a:pt x="198438" y="523133"/>
                      <a:pt x="198438" y="364279"/>
                    </a:cubicBezTo>
                    <a:cubicBezTo>
                      <a:pt x="198438" y="360733"/>
                      <a:pt x="201285" y="357187"/>
                      <a:pt x="205555" y="357187"/>
                    </a:cubicBezTo>
                    <a:close/>
                    <a:moveTo>
                      <a:pt x="35700" y="357187"/>
                    </a:moveTo>
                    <a:cubicBezTo>
                      <a:pt x="35700" y="357187"/>
                      <a:pt x="35700" y="357187"/>
                      <a:pt x="146862" y="357187"/>
                    </a:cubicBezTo>
                    <a:cubicBezTo>
                      <a:pt x="150425" y="357187"/>
                      <a:pt x="153988" y="360733"/>
                      <a:pt x="153988" y="364279"/>
                    </a:cubicBezTo>
                    <a:cubicBezTo>
                      <a:pt x="153988" y="523133"/>
                      <a:pt x="153988" y="523133"/>
                      <a:pt x="153988" y="523133"/>
                    </a:cubicBezTo>
                    <a:cubicBezTo>
                      <a:pt x="153988" y="527388"/>
                      <a:pt x="150425" y="530225"/>
                      <a:pt x="146862" y="530225"/>
                    </a:cubicBezTo>
                    <a:cubicBezTo>
                      <a:pt x="146862" y="530225"/>
                      <a:pt x="146862" y="530225"/>
                      <a:pt x="35700" y="530225"/>
                    </a:cubicBezTo>
                    <a:cubicBezTo>
                      <a:pt x="31425" y="530225"/>
                      <a:pt x="28575" y="527388"/>
                      <a:pt x="28575" y="523133"/>
                    </a:cubicBezTo>
                    <a:cubicBezTo>
                      <a:pt x="28575" y="523133"/>
                      <a:pt x="28575" y="523133"/>
                      <a:pt x="28575" y="364279"/>
                    </a:cubicBezTo>
                    <a:cubicBezTo>
                      <a:pt x="28575" y="360733"/>
                      <a:pt x="31425" y="357187"/>
                      <a:pt x="35700" y="357187"/>
                    </a:cubicBezTo>
                    <a:close/>
                    <a:moveTo>
                      <a:pt x="439738" y="36512"/>
                    </a:moveTo>
                    <a:lnTo>
                      <a:pt x="460376" y="93662"/>
                    </a:lnTo>
                    <a:lnTo>
                      <a:pt x="520701" y="93662"/>
                    </a:lnTo>
                    <a:lnTo>
                      <a:pt x="469901" y="130175"/>
                    </a:lnTo>
                    <a:lnTo>
                      <a:pt x="490539" y="180975"/>
                    </a:lnTo>
                    <a:lnTo>
                      <a:pt x="439738" y="150813"/>
                    </a:lnTo>
                    <a:lnTo>
                      <a:pt x="393701" y="180975"/>
                    </a:lnTo>
                    <a:lnTo>
                      <a:pt x="414338" y="130175"/>
                    </a:lnTo>
                    <a:lnTo>
                      <a:pt x="366713" y="93662"/>
                    </a:lnTo>
                    <a:lnTo>
                      <a:pt x="423863" y="93662"/>
                    </a:lnTo>
                    <a:close/>
                    <a:moveTo>
                      <a:pt x="80963" y="36512"/>
                    </a:moveTo>
                    <a:lnTo>
                      <a:pt x="96838" y="93662"/>
                    </a:lnTo>
                    <a:lnTo>
                      <a:pt x="157163" y="93662"/>
                    </a:lnTo>
                    <a:lnTo>
                      <a:pt x="106363" y="130175"/>
                    </a:lnTo>
                    <a:lnTo>
                      <a:pt x="127000" y="180975"/>
                    </a:lnTo>
                    <a:lnTo>
                      <a:pt x="80963" y="150813"/>
                    </a:lnTo>
                    <a:lnTo>
                      <a:pt x="30162" y="180975"/>
                    </a:lnTo>
                    <a:lnTo>
                      <a:pt x="50800" y="130175"/>
                    </a:lnTo>
                    <a:lnTo>
                      <a:pt x="0" y="93662"/>
                    </a:lnTo>
                    <a:lnTo>
                      <a:pt x="60325" y="93662"/>
                    </a:lnTo>
                    <a:close/>
                    <a:moveTo>
                      <a:pt x="260351" y="0"/>
                    </a:moveTo>
                    <a:lnTo>
                      <a:pt x="284163" y="69850"/>
                    </a:lnTo>
                    <a:lnTo>
                      <a:pt x="357188" y="69850"/>
                    </a:lnTo>
                    <a:lnTo>
                      <a:pt x="296863" y="115888"/>
                    </a:lnTo>
                    <a:lnTo>
                      <a:pt x="320676" y="180975"/>
                    </a:lnTo>
                    <a:lnTo>
                      <a:pt x="260351" y="142875"/>
                    </a:lnTo>
                    <a:lnTo>
                      <a:pt x="200026" y="180975"/>
                    </a:lnTo>
                    <a:lnTo>
                      <a:pt x="223838" y="115888"/>
                    </a:lnTo>
                    <a:lnTo>
                      <a:pt x="163513" y="69850"/>
                    </a:lnTo>
                    <a:lnTo>
                      <a:pt x="236538" y="6985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4" name="Group 3">
            <a:extLst>
              <a:ext uri="{FF2B5EF4-FFF2-40B4-BE49-F238E27FC236}">
                <a16:creationId xmlns:a16="http://schemas.microsoft.com/office/drawing/2014/main" id="{F31E5076-C38A-42D9-947F-4710E7A1099D}"/>
              </a:ext>
            </a:extLst>
          </p:cNvPr>
          <p:cNvGrpSpPr>
            <a:grpSpLocks noChangeAspect="1"/>
          </p:cNvGrpSpPr>
          <p:nvPr/>
        </p:nvGrpSpPr>
        <p:grpSpPr>
          <a:xfrm>
            <a:off x="7592985" y="2485346"/>
            <a:ext cx="941463" cy="942336"/>
            <a:chOff x="5273799" y="2606040"/>
            <a:chExt cx="1644396" cy="1645920"/>
          </a:xfrm>
        </p:grpSpPr>
        <p:sp>
          <p:nvSpPr>
            <p:cNvPr id="55" name="AutoShape 28">
              <a:extLst>
                <a:ext uri="{FF2B5EF4-FFF2-40B4-BE49-F238E27FC236}">
                  <a16:creationId xmlns:a16="http://schemas.microsoft.com/office/drawing/2014/main" id="{784EE4E2-44B7-488B-8BD5-174EFB8BBB2A}"/>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6" name="Group 2">
              <a:extLst>
                <a:ext uri="{FF2B5EF4-FFF2-40B4-BE49-F238E27FC236}">
                  <a16:creationId xmlns:a16="http://schemas.microsoft.com/office/drawing/2014/main" id="{06E3E851-473C-47C1-A2BD-FA2B3B196AA3}"/>
                </a:ext>
              </a:extLst>
            </p:cNvPr>
            <p:cNvGrpSpPr/>
            <p:nvPr/>
          </p:nvGrpSpPr>
          <p:grpSpPr>
            <a:xfrm>
              <a:off x="5537070" y="2899029"/>
              <a:ext cx="1119378" cy="1182243"/>
              <a:chOff x="5537070" y="2899029"/>
              <a:chExt cx="1119378" cy="1182243"/>
            </a:xfrm>
          </p:grpSpPr>
          <p:sp>
            <p:nvSpPr>
              <p:cNvPr id="57" name="Freeform 30">
                <a:extLst>
                  <a:ext uri="{FF2B5EF4-FFF2-40B4-BE49-F238E27FC236}">
                    <a16:creationId xmlns:a16="http://schemas.microsoft.com/office/drawing/2014/main" id="{A65748F7-40EA-42E7-B0E4-569D25AD3B0F}"/>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31">
                <a:extLst>
                  <a:ext uri="{FF2B5EF4-FFF2-40B4-BE49-F238E27FC236}">
                    <a16:creationId xmlns:a16="http://schemas.microsoft.com/office/drawing/2014/main" id="{78DFDFAA-3B86-432C-9F1D-E227131CF62E}"/>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グループ化 9">
            <a:extLst>
              <a:ext uri="{FF2B5EF4-FFF2-40B4-BE49-F238E27FC236}">
                <a16:creationId xmlns:a16="http://schemas.microsoft.com/office/drawing/2014/main" id="{F6774CD0-80AB-4886-8629-65336424802A}"/>
              </a:ext>
            </a:extLst>
          </p:cNvPr>
          <p:cNvGrpSpPr/>
          <p:nvPr/>
        </p:nvGrpSpPr>
        <p:grpSpPr>
          <a:xfrm>
            <a:off x="4492121" y="2485737"/>
            <a:ext cx="941463" cy="942336"/>
            <a:chOff x="4552287" y="2160720"/>
            <a:chExt cx="1013965" cy="1013965"/>
          </a:xfrm>
        </p:grpSpPr>
        <p:grpSp>
          <p:nvGrpSpPr>
            <p:cNvPr id="25" name="Group 12">
              <a:extLst>
                <a:ext uri="{FF2B5EF4-FFF2-40B4-BE49-F238E27FC236}">
                  <a16:creationId xmlns:a16="http://schemas.microsoft.com/office/drawing/2014/main" id="{8B4F9867-1080-4427-9509-137E7FF26492}"/>
                </a:ext>
              </a:extLst>
            </p:cNvPr>
            <p:cNvGrpSpPr>
              <a:grpSpLocks noChangeAspect="1"/>
            </p:cNvGrpSpPr>
            <p:nvPr/>
          </p:nvGrpSpPr>
          <p:grpSpPr>
            <a:xfrm>
              <a:off x="4552287" y="2160720"/>
              <a:ext cx="1013965" cy="1013965"/>
              <a:chOff x="6473826" y="2606675"/>
              <a:chExt cx="1644650" cy="1644650"/>
            </a:xfrm>
          </p:grpSpPr>
          <p:sp>
            <p:nvSpPr>
              <p:cNvPr id="26" name="AutoShape 16">
                <a:extLst>
                  <a:ext uri="{FF2B5EF4-FFF2-40B4-BE49-F238E27FC236}">
                    <a16:creationId xmlns:a16="http://schemas.microsoft.com/office/drawing/2014/main" id="{C0520075-508C-4912-BE8A-E6471C08E8FC}"/>
                  </a:ext>
                </a:extLst>
              </p:cNvPr>
              <p:cNvSpPr>
                <a:spLocks noChangeAspect="1" noChangeArrowheads="1" noTextEdit="1"/>
              </p:cNvSpPr>
              <p:nvPr/>
            </p:nvSpPr>
            <p:spPr bwMode="auto">
              <a:xfrm>
                <a:off x="6473826"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 name="Group 14">
                <a:extLst>
                  <a:ext uri="{FF2B5EF4-FFF2-40B4-BE49-F238E27FC236}">
                    <a16:creationId xmlns:a16="http://schemas.microsoft.com/office/drawing/2014/main" id="{C474AF35-C91F-43B4-AC18-534D15172725}"/>
                  </a:ext>
                </a:extLst>
              </p:cNvPr>
              <p:cNvGrpSpPr/>
              <p:nvPr/>
            </p:nvGrpSpPr>
            <p:grpSpPr>
              <a:xfrm>
                <a:off x="6565899" y="2847973"/>
                <a:ext cx="1460500" cy="1160462"/>
                <a:chOff x="6565900" y="2847974"/>
                <a:chExt cx="1460499" cy="1160463"/>
              </a:xfrm>
            </p:grpSpPr>
            <p:sp>
              <p:nvSpPr>
                <p:cNvPr id="37" name="Freeform 15">
                  <a:extLst>
                    <a:ext uri="{FF2B5EF4-FFF2-40B4-BE49-F238E27FC236}">
                      <a16:creationId xmlns:a16="http://schemas.microsoft.com/office/drawing/2014/main" id="{8961D649-2D65-4D9E-A799-0FDE7F175B6F}"/>
                    </a:ext>
                  </a:extLst>
                </p:cNvPr>
                <p:cNvSpPr>
                  <a:spLocks/>
                </p:cNvSpPr>
                <p:nvPr/>
              </p:nvSpPr>
              <p:spPr bwMode="auto">
                <a:xfrm>
                  <a:off x="6565900" y="2847974"/>
                  <a:ext cx="1276351" cy="947738"/>
                </a:xfrm>
                <a:custGeom>
                  <a:avLst/>
                  <a:gdLst>
                    <a:gd name="connsiteX0" fmla="*/ 44999 w 1276351"/>
                    <a:gd name="connsiteY0" fmla="*/ 879475 h 947738"/>
                    <a:gd name="connsiteX1" fmla="*/ 519278 w 1276351"/>
                    <a:gd name="connsiteY1" fmla="*/ 879475 h 947738"/>
                    <a:gd name="connsiteX2" fmla="*/ 527849 w 1276351"/>
                    <a:gd name="connsiteY2" fmla="*/ 888008 h 947738"/>
                    <a:gd name="connsiteX3" fmla="*/ 527849 w 1276351"/>
                    <a:gd name="connsiteY3" fmla="*/ 899385 h 947738"/>
                    <a:gd name="connsiteX4" fmla="*/ 554991 w 1276351"/>
                    <a:gd name="connsiteY4" fmla="*/ 899385 h 947738"/>
                    <a:gd name="connsiteX5" fmla="*/ 563563 w 1276351"/>
                    <a:gd name="connsiteY5" fmla="*/ 907918 h 947738"/>
                    <a:gd name="connsiteX6" fmla="*/ 563563 w 1276351"/>
                    <a:gd name="connsiteY6" fmla="*/ 939205 h 947738"/>
                    <a:gd name="connsiteX7" fmla="*/ 554991 w 1276351"/>
                    <a:gd name="connsiteY7" fmla="*/ 947738 h 947738"/>
                    <a:gd name="connsiteX8" fmla="*/ 9285 w 1276351"/>
                    <a:gd name="connsiteY8" fmla="*/ 947738 h 947738"/>
                    <a:gd name="connsiteX9" fmla="*/ 0 w 1276351"/>
                    <a:gd name="connsiteY9" fmla="*/ 939205 h 947738"/>
                    <a:gd name="connsiteX10" fmla="*/ 0 w 1276351"/>
                    <a:gd name="connsiteY10" fmla="*/ 907918 h 947738"/>
                    <a:gd name="connsiteX11" fmla="*/ 9285 w 1276351"/>
                    <a:gd name="connsiteY11" fmla="*/ 899385 h 947738"/>
                    <a:gd name="connsiteX12" fmla="*/ 35714 w 1276351"/>
                    <a:gd name="connsiteY12" fmla="*/ 899385 h 947738"/>
                    <a:gd name="connsiteX13" fmla="*/ 35714 w 1276351"/>
                    <a:gd name="connsiteY13" fmla="*/ 888008 h 947738"/>
                    <a:gd name="connsiteX14" fmla="*/ 44999 w 1276351"/>
                    <a:gd name="connsiteY14" fmla="*/ 879475 h 947738"/>
                    <a:gd name="connsiteX15" fmla="*/ 1192933 w 1276351"/>
                    <a:gd name="connsiteY15" fmla="*/ 695325 h 947738"/>
                    <a:gd name="connsiteX16" fmla="*/ 1269282 w 1276351"/>
                    <a:gd name="connsiteY16" fmla="*/ 695325 h 947738"/>
                    <a:gd name="connsiteX17" fmla="*/ 1276351 w 1276351"/>
                    <a:gd name="connsiteY17" fmla="*/ 702528 h 947738"/>
                    <a:gd name="connsiteX18" fmla="*/ 1276351 w 1276351"/>
                    <a:gd name="connsiteY18" fmla="*/ 843698 h 947738"/>
                    <a:gd name="connsiteX19" fmla="*/ 1269282 w 1276351"/>
                    <a:gd name="connsiteY19" fmla="*/ 850900 h 947738"/>
                    <a:gd name="connsiteX20" fmla="*/ 1192933 w 1276351"/>
                    <a:gd name="connsiteY20" fmla="*/ 850900 h 947738"/>
                    <a:gd name="connsiteX21" fmla="*/ 1185863 w 1276351"/>
                    <a:gd name="connsiteY21" fmla="*/ 843698 h 947738"/>
                    <a:gd name="connsiteX22" fmla="*/ 1185863 w 1276351"/>
                    <a:gd name="connsiteY22" fmla="*/ 702528 h 947738"/>
                    <a:gd name="connsiteX23" fmla="*/ 1192933 w 1276351"/>
                    <a:gd name="connsiteY23" fmla="*/ 695325 h 947738"/>
                    <a:gd name="connsiteX24" fmla="*/ 1085095 w 1276351"/>
                    <a:gd name="connsiteY24" fmla="*/ 695325 h 947738"/>
                    <a:gd name="connsiteX25" fmla="*/ 1161220 w 1276351"/>
                    <a:gd name="connsiteY25" fmla="*/ 695325 h 947738"/>
                    <a:gd name="connsiteX26" fmla="*/ 1168401 w 1276351"/>
                    <a:gd name="connsiteY26" fmla="*/ 702528 h 947738"/>
                    <a:gd name="connsiteX27" fmla="*/ 1168401 w 1276351"/>
                    <a:gd name="connsiteY27" fmla="*/ 843698 h 947738"/>
                    <a:gd name="connsiteX28" fmla="*/ 1161220 w 1276351"/>
                    <a:gd name="connsiteY28" fmla="*/ 850900 h 947738"/>
                    <a:gd name="connsiteX29" fmla="*/ 1085095 w 1276351"/>
                    <a:gd name="connsiteY29" fmla="*/ 850900 h 947738"/>
                    <a:gd name="connsiteX30" fmla="*/ 1077913 w 1276351"/>
                    <a:gd name="connsiteY30" fmla="*/ 843698 h 947738"/>
                    <a:gd name="connsiteX31" fmla="*/ 1077913 w 1276351"/>
                    <a:gd name="connsiteY31" fmla="*/ 702528 h 947738"/>
                    <a:gd name="connsiteX32" fmla="*/ 1085095 w 1276351"/>
                    <a:gd name="connsiteY32" fmla="*/ 695325 h 947738"/>
                    <a:gd name="connsiteX33" fmla="*/ 1158320 w 1276351"/>
                    <a:gd name="connsiteY33" fmla="*/ 479425 h 947738"/>
                    <a:gd name="connsiteX34" fmla="*/ 1133475 w 1276351"/>
                    <a:gd name="connsiteY34" fmla="*/ 480141 h 947738"/>
                    <a:gd name="connsiteX35" fmla="*/ 1133475 w 1276351"/>
                    <a:gd name="connsiteY35" fmla="*/ 573243 h 947738"/>
                    <a:gd name="connsiteX36" fmla="*/ 1157611 w 1276351"/>
                    <a:gd name="connsiteY36" fmla="*/ 574675 h 947738"/>
                    <a:gd name="connsiteX37" fmla="*/ 1205881 w 1276351"/>
                    <a:gd name="connsiteY37" fmla="*/ 563216 h 947738"/>
                    <a:gd name="connsiteX38" fmla="*/ 1220788 w 1276351"/>
                    <a:gd name="connsiteY38" fmla="*/ 525260 h 947738"/>
                    <a:gd name="connsiteX39" fmla="*/ 1206591 w 1276351"/>
                    <a:gd name="connsiteY39" fmla="*/ 490168 h 947738"/>
                    <a:gd name="connsiteX40" fmla="*/ 1158320 w 1276351"/>
                    <a:gd name="connsiteY40" fmla="*/ 479425 h 947738"/>
                    <a:gd name="connsiteX41" fmla="*/ 1162113 w 1276351"/>
                    <a:gd name="connsiteY41" fmla="*/ 373063 h 947738"/>
                    <a:gd name="connsiteX42" fmla="*/ 1133475 w 1276351"/>
                    <a:gd name="connsiteY42" fmla="*/ 373774 h 947738"/>
                    <a:gd name="connsiteX43" fmla="*/ 1133475 w 1276351"/>
                    <a:gd name="connsiteY43" fmla="*/ 440615 h 947738"/>
                    <a:gd name="connsiteX44" fmla="*/ 1157817 w 1276351"/>
                    <a:gd name="connsiteY44" fmla="*/ 441326 h 947738"/>
                    <a:gd name="connsiteX45" fmla="*/ 1206500 w 1276351"/>
                    <a:gd name="connsiteY45" fmla="*/ 405061 h 947738"/>
                    <a:gd name="connsiteX46" fmla="*/ 1162113 w 1276351"/>
                    <a:gd name="connsiteY46" fmla="*/ 373063 h 947738"/>
                    <a:gd name="connsiteX47" fmla="*/ 1163460 w 1276351"/>
                    <a:gd name="connsiteY47" fmla="*/ 330200 h 947738"/>
                    <a:gd name="connsiteX48" fmla="*/ 1231954 w 1276351"/>
                    <a:gd name="connsiteY48" fmla="*/ 348810 h 947738"/>
                    <a:gd name="connsiteX49" fmla="*/ 1256926 w 1276351"/>
                    <a:gd name="connsiteY49" fmla="*/ 402493 h 947738"/>
                    <a:gd name="connsiteX50" fmla="*/ 1221252 w 1276351"/>
                    <a:gd name="connsiteY50" fmla="*/ 455461 h 947738"/>
                    <a:gd name="connsiteX51" fmla="*/ 1274763 w 1276351"/>
                    <a:gd name="connsiteY51" fmla="*/ 530617 h 947738"/>
                    <a:gd name="connsiteX52" fmla="*/ 1244797 w 1276351"/>
                    <a:gd name="connsiteY52" fmla="*/ 592174 h 947738"/>
                    <a:gd name="connsiteX53" fmla="*/ 1169881 w 1276351"/>
                    <a:gd name="connsiteY53" fmla="*/ 614363 h 947738"/>
                    <a:gd name="connsiteX54" fmla="*/ 1091398 w 1276351"/>
                    <a:gd name="connsiteY54" fmla="*/ 614363 h 947738"/>
                    <a:gd name="connsiteX55" fmla="*/ 1084263 w 1276351"/>
                    <a:gd name="connsiteY55" fmla="*/ 607205 h 947738"/>
                    <a:gd name="connsiteX56" fmla="*/ 1084263 w 1276351"/>
                    <a:gd name="connsiteY56" fmla="*/ 340221 h 947738"/>
                    <a:gd name="connsiteX57" fmla="*/ 1090685 w 1276351"/>
                    <a:gd name="connsiteY57" fmla="*/ 333063 h 947738"/>
                    <a:gd name="connsiteX58" fmla="*/ 1163460 w 1276351"/>
                    <a:gd name="connsiteY58" fmla="*/ 330200 h 947738"/>
                    <a:gd name="connsiteX59" fmla="*/ 121602 w 1276351"/>
                    <a:gd name="connsiteY59" fmla="*/ 227013 h 947738"/>
                    <a:gd name="connsiteX60" fmla="*/ 115888 w 1276351"/>
                    <a:gd name="connsiteY60" fmla="*/ 239713 h 947738"/>
                    <a:gd name="connsiteX61" fmla="*/ 450851 w 1276351"/>
                    <a:gd name="connsiteY61" fmla="*/ 239713 h 947738"/>
                    <a:gd name="connsiteX62" fmla="*/ 445138 w 1276351"/>
                    <a:gd name="connsiteY62" fmla="*/ 227013 h 947738"/>
                    <a:gd name="connsiteX63" fmla="*/ 121602 w 1276351"/>
                    <a:gd name="connsiteY63" fmla="*/ 227013 h 947738"/>
                    <a:gd name="connsiteX64" fmla="*/ 110948 w 1276351"/>
                    <a:gd name="connsiteY64" fmla="*/ 195263 h 947738"/>
                    <a:gd name="connsiteX65" fmla="*/ 454043 w 1276351"/>
                    <a:gd name="connsiteY65" fmla="*/ 195263 h 947738"/>
                    <a:gd name="connsiteX66" fmla="*/ 468309 w 1276351"/>
                    <a:gd name="connsiteY66" fmla="*/ 204532 h 947738"/>
                    <a:gd name="connsiteX67" fmla="*/ 484001 w 1276351"/>
                    <a:gd name="connsiteY67" fmla="*/ 240182 h 947738"/>
                    <a:gd name="connsiteX68" fmla="*/ 501834 w 1276351"/>
                    <a:gd name="connsiteY68" fmla="*/ 240182 h 947738"/>
                    <a:gd name="connsiteX69" fmla="*/ 517526 w 1276351"/>
                    <a:gd name="connsiteY69" fmla="*/ 255868 h 947738"/>
                    <a:gd name="connsiteX70" fmla="*/ 517526 w 1276351"/>
                    <a:gd name="connsiteY70" fmla="*/ 307204 h 947738"/>
                    <a:gd name="connsiteX71" fmla="*/ 504687 w 1276351"/>
                    <a:gd name="connsiteY71" fmla="*/ 322177 h 947738"/>
                    <a:gd name="connsiteX72" fmla="*/ 504687 w 1276351"/>
                    <a:gd name="connsiteY72" fmla="*/ 854076 h 947738"/>
                    <a:gd name="connsiteX73" fmla="*/ 474015 w 1276351"/>
                    <a:gd name="connsiteY73" fmla="*/ 854076 h 947738"/>
                    <a:gd name="connsiteX74" fmla="*/ 474015 w 1276351"/>
                    <a:gd name="connsiteY74" fmla="*/ 307204 h 947738"/>
                    <a:gd name="connsiteX75" fmla="*/ 486855 w 1276351"/>
                    <a:gd name="connsiteY75" fmla="*/ 291518 h 947738"/>
                    <a:gd name="connsiteX76" fmla="*/ 486855 w 1276351"/>
                    <a:gd name="connsiteY76" fmla="*/ 271554 h 947738"/>
                    <a:gd name="connsiteX77" fmla="*/ 77423 w 1276351"/>
                    <a:gd name="connsiteY77" fmla="*/ 271554 h 947738"/>
                    <a:gd name="connsiteX78" fmla="*/ 77423 w 1276351"/>
                    <a:gd name="connsiteY78" fmla="*/ 291518 h 947738"/>
                    <a:gd name="connsiteX79" fmla="*/ 90263 w 1276351"/>
                    <a:gd name="connsiteY79" fmla="*/ 307204 h 947738"/>
                    <a:gd name="connsiteX80" fmla="*/ 90263 w 1276351"/>
                    <a:gd name="connsiteY80" fmla="*/ 854076 h 947738"/>
                    <a:gd name="connsiteX81" fmla="*/ 58878 w 1276351"/>
                    <a:gd name="connsiteY81" fmla="*/ 854076 h 947738"/>
                    <a:gd name="connsiteX82" fmla="*/ 58878 w 1276351"/>
                    <a:gd name="connsiteY82" fmla="*/ 322177 h 947738"/>
                    <a:gd name="connsiteX83" fmla="*/ 46038 w 1276351"/>
                    <a:gd name="connsiteY83" fmla="*/ 307204 h 947738"/>
                    <a:gd name="connsiteX84" fmla="*/ 46038 w 1276351"/>
                    <a:gd name="connsiteY84" fmla="*/ 255868 h 947738"/>
                    <a:gd name="connsiteX85" fmla="*/ 61731 w 1276351"/>
                    <a:gd name="connsiteY85" fmla="*/ 240182 h 947738"/>
                    <a:gd name="connsiteX86" fmla="*/ 80990 w 1276351"/>
                    <a:gd name="connsiteY86" fmla="*/ 240182 h 947738"/>
                    <a:gd name="connsiteX87" fmla="*/ 95969 w 1276351"/>
                    <a:gd name="connsiteY87" fmla="*/ 204532 h 947738"/>
                    <a:gd name="connsiteX88" fmla="*/ 110948 w 1276351"/>
                    <a:gd name="connsiteY88" fmla="*/ 195263 h 947738"/>
                    <a:gd name="connsiteX89" fmla="*/ 730964 w 1276351"/>
                    <a:gd name="connsiteY89" fmla="*/ 0 h 947738"/>
                    <a:gd name="connsiteX90" fmla="*/ 1045796 w 1276351"/>
                    <a:gd name="connsiteY90" fmla="*/ 92579 h 947738"/>
                    <a:gd name="connsiteX91" fmla="*/ 1040085 w 1276351"/>
                    <a:gd name="connsiteY91" fmla="*/ 74063 h 947738"/>
                    <a:gd name="connsiteX92" fmla="*/ 1049365 w 1276351"/>
                    <a:gd name="connsiteY92" fmla="*/ 54835 h 947738"/>
                    <a:gd name="connsiteX93" fmla="*/ 1069355 w 1276351"/>
                    <a:gd name="connsiteY93" fmla="*/ 64093 h 947738"/>
                    <a:gd name="connsiteX94" fmla="*/ 1091486 w 1276351"/>
                    <a:gd name="connsiteY94" fmla="*/ 128899 h 947738"/>
                    <a:gd name="connsiteX95" fmla="*/ 1092200 w 1276351"/>
                    <a:gd name="connsiteY95" fmla="*/ 131035 h 947738"/>
                    <a:gd name="connsiteX96" fmla="*/ 1092200 w 1276351"/>
                    <a:gd name="connsiteY96" fmla="*/ 131748 h 947738"/>
                    <a:gd name="connsiteX97" fmla="*/ 1092200 w 1276351"/>
                    <a:gd name="connsiteY97" fmla="*/ 134596 h 947738"/>
                    <a:gd name="connsiteX98" fmla="*/ 1091486 w 1276351"/>
                    <a:gd name="connsiteY98" fmla="*/ 138157 h 947738"/>
                    <a:gd name="connsiteX99" fmla="*/ 1090772 w 1276351"/>
                    <a:gd name="connsiteY99" fmla="*/ 141005 h 947738"/>
                    <a:gd name="connsiteX100" fmla="*/ 1090059 w 1276351"/>
                    <a:gd name="connsiteY100" fmla="*/ 141005 h 947738"/>
                    <a:gd name="connsiteX101" fmla="*/ 1089345 w 1276351"/>
                    <a:gd name="connsiteY101" fmla="*/ 143142 h 947738"/>
                    <a:gd name="connsiteX102" fmla="*/ 1088631 w 1276351"/>
                    <a:gd name="connsiteY102" fmla="*/ 143854 h 947738"/>
                    <a:gd name="connsiteX103" fmla="*/ 1086489 w 1276351"/>
                    <a:gd name="connsiteY103" fmla="*/ 145991 h 947738"/>
                    <a:gd name="connsiteX104" fmla="*/ 1084347 w 1276351"/>
                    <a:gd name="connsiteY104" fmla="*/ 148127 h 947738"/>
                    <a:gd name="connsiteX105" fmla="*/ 1081492 w 1276351"/>
                    <a:gd name="connsiteY105" fmla="*/ 148839 h 947738"/>
                    <a:gd name="connsiteX106" fmla="*/ 1081492 w 1276351"/>
                    <a:gd name="connsiteY106" fmla="*/ 149551 h 947738"/>
                    <a:gd name="connsiteX107" fmla="*/ 1078636 w 1276351"/>
                    <a:gd name="connsiteY107" fmla="*/ 149551 h 947738"/>
                    <a:gd name="connsiteX108" fmla="*/ 1077922 w 1276351"/>
                    <a:gd name="connsiteY108" fmla="*/ 149551 h 947738"/>
                    <a:gd name="connsiteX109" fmla="*/ 1077208 w 1276351"/>
                    <a:gd name="connsiteY109" fmla="*/ 150263 h 947738"/>
                    <a:gd name="connsiteX110" fmla="*/ 1009387 w 1276351"/>
                    <a:gd name="connsiteY110" fmla="*/ 152400 h 947738"/>
                    <a:gd name="connsiteX111" fmla="*/ 1008673 w 1276351"/>
                    <a:gd name="connsiteY111" fmla="*/ 152400 h 947738"/>
                    <a:gd name="connsiteX112" fmla="*/ 992967 w 1276351"/>
                    <a:gd name="connsiteY112" fmla="*/ 136733 h 947738"/>
                    <a:gd name="connsiteX113" fmla="*/ 1007959 w 1276351"/>
                    <a:gd name="connsiteY113" fmla="*/ 120353 h 947738"/>
                    <a:gd name="connsiteX114" fmla="*/ 1030090 w 1276351"/>
                    <a:gd name="connsiteY114" fmla="*/ 119641 h 947738"/>
                    <a:gd name="connsiteX115" fmla="*/ 730964 w 1276351"/>
                    <a:gd name="connsiteY115" fmla="*/ 31334 h 947738"/>
                    <a:gd name="connsiteX116" fmla="*/ 396142 w 1276351"/>
                    <a:gd name="connsiteY116" fmla="*/ 146703 h 947738"/>
                    <a:gd name="connsiteX117" fmla="*/ 386147 w 1276351"/>
                    <a:gd name="connsiteY117" fmla="*/ 150263 h 947738"/>
                    <a:gd name="connsiteX118" fmla="*/ 374011 w 1276351"/>
                    <a:gd name="connsiteY118" fmla="*/ 143854 h 947738"/>
                    <a:gd name="connsiteX119" fmla="*/ 376867 w 1276351"/>
                    <a:gd name="connsiteY119" fmla="*/ 121065 h 947738"/>
                    <a:gd name="connsiteX120" fmla="*/ 730964 w 1276351"/>
                    <a:gd name="connsiteY120" fmla="*/ 0 h 94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276351" h="947738">
                      <a:moveTo>
                        <a:pt x="44999" y="879475"/>
                      </a:moveTo>
                      <a:cubicBezTo>
                        <a:pt x="44999" y="879475"/>
                        <a:pt x="44999" y="879475"/>
                        <a:pt x="519278" y="879475"/>
                      </a:cubicBezTo>
                      <a:cubicBezTo>
                        <a:pt x="524278" y="879475"/>
                        <a:pt x="527849" y="883030"/>
                        <a:pt x="527849" y="888008"/>
                      </a:cubicBezTo>
                      <a:cubicBezTo>
                        <a:pt x="527849" y="888008"/>
                        <a:pt x="527849" y="888008"/>
                        <a:pt x="527849" y="899385"/>
                      </a:cubicBezTo>
                      <a:cubicBezTo>
                        <a:pt x="527849" y="899385"/>
                        <a:pt x="527849" y="899385"/>
                        <a:pt x="554991" y="899385"/>
                      </a:cubicBezTo>
                      <a:cubicBezTo>
                        <a:pt x="559991" y="899385"/>
                        <a:pt x="563563" y="902941"/>
                        <a:pt x="563563" y="907918"/>
                      </a:cubicBezTo>
                      <a:cubicBezTo>
                        <a:pt x="563563" y="907918"/>
                        <a:pt x="563563" y="907918"/>
                        <a:pt x="563563" y="939205"/>
                      </a:cubicBezTo>
                      <a:cubicBezTo>
                        <a:pt x="563563" y="944183"/>
                        <a:pt x="559991" y="947738"/>
                        <a:pt x="554991" y="947738"/>
                      </a:cubicBezTo>
                      <a:cubicBezTo>
                        <a:pt x="554991" y="947738"/>
                        <a:pt x="554991" y="947738"/>
                        <a:pt x="9285" y="947738"/>
                      </a:cubicBezTo>
                      <a:cubicBezTo>
                        <a:pt x="4285" y="947738"/>
                        <a:pt x="0" y="944183"/>
                        <a:pt x="0" y="939205"/>
                      </a:cubicBezTo>
                      <a:cubicBezTo>
                        <a:pt x="0" y="939205"/>
                        <a:pt x="0" y="939205"/>
                        <a:pt x="0" y="907918"/>
                      </a:cubicBezTo>
                      <a:cubicBezTo>
                        <a:pt x="0" y="902941"/>
                        <a:pt x="4285" y="899385"/>
                        <a:pt x="9285" y="899385"/>
                      </a:cubicBezTo>
                      <a:cubicBezTo>
                        <a:pt x="9285" y="899385"/>
                        <a:pt x="9285" y="899385"/>
                        <a:pt x="35714" y="899385"/>
                      </a:cubicBezTo>
                      <a:cubicBezTo>
                        <a:pt x="35714" y="899385"/>
                        <a:pt x="35714" y="899385"/>
                        <a:pt x="35714" y="888008"/>
                      </a:cubicBezTo>
                      <a:cubicBezTo>
                        <a:pt x="35714" y="883030"/>
                        <a:pt x="39999" y="879475"/>
                        <a:pt x="44999" y="879475"/>
                      </a:cubicBezTo>
                      <a:close/>
                      <a:moveTo>
                        <a:pt x="1192933" y="695325"/>
                      </a:moveTo>
                      <a:cubicBezTo>
                        <a:pt x="1192933" y="695325"/>
                        <a:pt x="1192933" y="695325"/>
                        <a:pt x="1269282" y="695325"/>
                      </a:cubicBezTo>
                      <a:cubicBezTo>
                        <a:pt x="1273523" y="695325"/>
                        <a:pt x="1276351" y="698926"/>
                        <a:pt x="1276351" y="702528"/>
                      </a:cubicBezTo>
                      <a:cubicBezTo>
                        <a:pt x="1276351" y="702528"/>
                        <a:pt x="1276351" y="702528"/>
                        <a:pt x="1276351" y="843698"/>
                      </a:cubicBezTo>
                      <a:cubicBezTo>
                        <a:pt x="1276351" y="848019"/>
                        <a:pt x="1273523" y="850900"/>
                        <a:pt x="1269282" y="850900"/>
                      </a:cubicBezTo>
                      <a:cubicBezTo>
                        <a:pt x="1269282" y="850900"/>
                        <a:pt x="1269282" y="850900"/>
                        <a:pt x="1192933" y="850900"/>
                      </a:cubicBezTo>
                      <a:cubicBezTo>
                        <a:pt x="1189398" y="850900"/>
                        <a:pt x="1185863" y="848019"/>
                        <a:pt x="1185863" y="843698"/>
                      </a:cubicBezTo>
                      <a:cubicBezTo>
                        <a:pt x="1185863" y="843698"/>
                        <a:pt x="1185863" y="843698"/>
                        <a:pt x="1185863" y="702528"/>
                      </a:cubicBezTo>
                      <a:cubicBezTo>
                        <a:pt x="1185863" y="698926"/>
                        <a:pt x="1189398" y="695325"/>
                        <a:pt x="1192933" y="695325"/>
                      </a:cubicBezTo>
                      <a:close/>
                      <a:moveTo>
                        <a:pt x="1085095" y="695325"/>
                      </a:moveTo>
                      <a:cubicBezTo>
                        <a:pt x="1085095" y="695325"/>
                        <a:pt x="1085095" y="695325"/>
                        <a:pt x="1161220" y="695325"/>
                      </a:cubicBezTo>
                      <a:cubicBezTo>
                        <a:pt x="1165529" y="695325"/>
                        <a:pt x="1168401" y="698926"/>
                        <a:pt x="1168401" y="702528"/>
                      </a:cubicBezTo>
                      <a:cubicBezTo>
                        <a:pt x="1168401" y="702528"/>
                        <a:pt x="1168401" y="702528"/>
                        <a:pt x="1168401" y="843698"/>
                      </a:cubicBezTo>
                      <a:cubicBezTo>
                        <a:pt x="1168401" y="848019"/>
                        <a:pt x="1165529" y="850900"/>
                        <a:pt x="1161220" y="850900"/>
                      </a:cubicBezTo>
                      <a:cubicBezTo>
                        <a:pt x="1161220" y="850900"/>
                        <a:pt x="1161220" y="850900"/>
                        <a:pt x="1085095" y="850900"/>
                      </a:cubicBezTo>
                      <a:cubicBezTo>
                        <a:pt x="1081504" y="850900"/>
                        <a:pt x="1077913" y="848019"/>
                        <a:pt x="1077913" y="843698"/>
                      </a:cubicBezTo>
                      <a:cubicBezTo>
                        <a:pt x="1077913" y="843698"/>
                        <a:pt x="1077913" y="843698"/>
                        <a:pt x="1077913" y="702528"/>
                      </a:cubicBezTo>
                      <a:cubicBezTo>
                        <a:pt x="1077913" y="698926"/>
                        <a:pt x="1081504" y="695325"/>
                        <a:pt x="1085095" y="695325"/>
                      </a:cubicBezTo>
                      <a:close/>
                      <a:moveTo>
                        <a:pt x="1158320" y="479425"/>
                      </a:moveTo>
                      <a:cubicBezTo>
                        <a:pt x="1153351" y="479425"/>
                        <a:pt x="1144833" y="479425"/>
                        <a:pt x="1133475" y="480141"/>
                      </a:cubicBezTo>
                      <a:cubicBezTo>
                        <a:pt x="1133475" y="480141"/>
                        <a:pt x="1133475" y="480141"/>
                        <a:pt x="1133475" y="573243"/>
                      </a:cubicBezTo>
                      <a:cubicBezTo>
                        <a:pt x="1143413" y="573959"/>
                        <a:pt x="1151222" y="574675"/>
                        <a:pt x="1157611" y="574675"/>
                      </a:cubicBezTo>
                      <a:cubicBezTo>
                        <a:pt x="1179616" y="574675"/>
                        <a:pt x="1195943" y="570378"/>
                        <a:pt x="1205881" y="563216"/>
                      </a:cubicBezTo>
                      <a:cubicBezTo>
                        <a:pt x="1215819" y="555339"/>
                        <a:pt x="1220788" y="543164"/>
                        <a:pt x="1220788" y="525260"/>
                      </a:cubicBezTo>
                      <a:cubicBezTo>
                        <a:pt x="1220788" y="509504"/>
                        <a:pt x="1215819" y="497329"/>
                        <a:pt x="1206591" y="490168"/>
                      </a:cubicBezTo>
                      <a:cubicBezTo>
                        <a:pt x="1197363" y="483006"/>
                        <a:pt x="1181036" y="479425"/>
                        <a:pt x="1158320" y="479425"/>
                      </a:cubicBezTo>
                      <a:close/>
                      <a:moveTo>
                        <a:pt x="1162113" y="373063"/>
                      </a:moveTo>
                      <a:cubicBezTo>
                        <a:pt x="1154237" y="373063"/>
                        <a:pt x="1144214" y="373063"/>
                        <a:pt x="1133475" y="373774"/>
                      </a:cubicBezTo>
                      <a:cubicBezTo>
                        <a:pt x="1133475" y="373774"/>
                        <a:pt x="1133475" y="373774"/>
                        <a:pt x="1133475" y="440615"/>
                      </a:cubicBezTo>
                      <a:cubicBezTo>
                        <a:pt x="1140635" y="441326"/>
                        <a:pt x="1149226" y="441326"/>
                        <a:pt x="1157817" y="441326"/>
                      </a:cubicBezTo>
                      <a:cubicBezTo>
                        <a:pt x="1190034" y="441326"/>
                        <a:pt x="1206500" y="429238"/>
                        <a:pt x="1206500" y="405061"/>
                      </a:cubicBezTo>
                      <a:cubicBezTo>
                        <a:pt x="1206500" y="383729"/>
                        <a:pt x="1191466" y="373063"/>
                        <a:pt x="1162113" y="373063"/>
                      </a:cubicBezTo>
                      <a:close/>
                      <a:moveTo>
                        <a:pt x="1163460" y="330200"/>
                      </a:moveTo>
                      <a:cubicBezTo>
                        <a:pt x="1192713" y="330200"/>
                        <a:pt x="1215544" y="336642"/>
                        <a:pt x="1231954" y="348810"/>
                      </a:cubicBezTo>
                      <a:cubicBezTo>
                        <a:pt x="1248364" y="361694"/>
                        <a:pt x="1256926" y="379589"/>
                        <a:pt x="1256926" y="402493"/>
                      </a:cubicBezTo>
                      <a:cubicBezTo>
                        <a:pt x="1256926" y="424683"/>
                        <a:pt x="1244797" y="442577"/>
                        <a:pt x="1221252" y="455461"/>
                      </a:cubicBezTo>
                      <a:cubicBezTo>
                        <a:pt x="1256213" y="467629"/>
                        <a:pt x="1274763" y="492681"/>
                        <a:pt x="1274763" y="530617"/>
                      </a:cubicBezTo>
                      <a:cubicBezTo>
                        <a:pt x="1274763" y="556385"/>
                        <a:pt x="1264061" y="577143"/>
                        <a:pt x="1244797" y="592174"/>
                      </a:cubicBezTo>
                      <a:cubicBezTo>
                        <a:pt x="1225533" y="607205"/>
                        <a:pt x="1200561" y="614363"/>
                        <a:pt x="1169881" y="614363"/>
                      </a:cubicBezTo>
                      <a:cubicBezTo>
                        <a:pt x="1169881" y="614363"/>
                        <a:pt x="1169881" y="614363"/>
                        <a:pt x="1091398" y="614363"/>
                      </a:cubicBezTo>
                      <a:cubicBezTo>
                        <a:pt x="1087117" y="614363"/>
                        <a:pt x="1084263" y="611500"/>
                        <a:pt x="1084263" y="607205"/>
                      </a:cubicBezTo>
                      <a:cubicBezTo>
                        <a:pt x="1084263" y="607205"/>
                        <a:pt x="1084263" y="607205"/>
                        <a:pt x="1084263" y="340221"/>
                      </a:cubicBezTo>
                      <a:cubicBezTo>
                        <a:pt x="1084263" y="335926"/>
                        <a:pt x="1087117" y="333063"/>
                        <a:pt x="1090685" y="333063"/>
                      </a:cubicBezTo>
                      <a:cubicBezTo>
                        <a:pt x="1124932" y="330916"/>
                        <a:pt x="1149190" y="330200"/>
                        <a:pt x="1163460" y="330200"/>
                      </a:cubicBezTo>
                      <a:close/>
                      <a:moveTo>
                        <a:pt x="121602" y="227013"/>
                      </a:moveTo>
                      <a:cubicBezTo>
                        <a:pt x="121602" y="227013"/>
                        <a:pt x="121602" y="227013"/>
                        <a:pt x="115888" y="239713"/>
                      </a:cubicBezTo>
                      <a:cubicBezTo>
                        <a:pt x="115888" y="239713"/>
                        <a:pt x="115888" y="239713"/>
                        <a:pt x="450851" y="239713"/>
                      </a:cubicBezTo>
                      <a:cubicBezTo>
                        <a:pt x="450851" y="239713"/>
                        <a:pt x="450851" y="239713"/>
                        <a:pt x="445138" y="227013"/>
                      </a:cubicBezTo>
                      <a:cubicBezTo>
                        <a:pt x="445138" y="227013"/>
                        <a:pt x="445138" y="227013"/>
                        <a:pt x="121602" y="227013"/>
                      </a:cubicBezTo>
                      <a:close/>
                      <a:moveTo>
                        <a:pt x="110948" y="195263"/>
                      </a:moveTo>
                      <a:cubicBezTo>
                        <a:pt x="110948" y="195263"/>
                        <a:pt x="110948" y="195263"/>
                        <a:pt x="454043" y="195263"/>
                      </a:cubicBezTo>
                      <a:cubicBezTo>
                        <a:pt x="460463" y="195263"/>
                        <a:pt x="466169" y="198828"/>
                        <a:pt x="468309" y="204532"/>
                      </a:cubicBezTo>
                      <a:cubicBezTo>
                        <a:pt x="468309" y="204532"/>
                        <a:pt x="468309" y="204532"/>
                        <a:pt x="484001" y="240182"/>
                      </a:cubicBezTo>
                      <a:cubicBezTo>
                        <a:pt x="484001" y="240182"/>
                        <a:pt x="484001" y="240182"/>
                        <a:pt x="501834" y="240182"/>
                      </a:cubicBezTo>
                      <a:cubicBezTo>
                        <a:pt x="511107" y="240182"/>
                        <a:pt x="517526" y="246599"/>
                        <a:pt x="517526" y="255868"/>
                      </a:cubicBezTo>
                      <a:cubicBezTo>
                        <a:pt x="517526" y="255868"/>
                        <a:pt x="517526" y="255868"/>
                        <a:pt x="517526" y="307204"/>
                      </a:cubicBezTo>
                      <a:cubicBezTo>
                        <a:pt x="517526" y="314334"/>
                        <a:pt x="512533" y="320751"/>
                        <a:pt x="504687" y="322177"/>
                      </a:cubicBezTo>
                      <a:cubicBezTo>
                        <a:pt x="504687" y="322177"/>
                        <a:pt x="504687" y="322177"/>
                        <a:pt x="504687" y="854076"/>
                      </a:cubicBezTo>
                      <a:cubicBezTo>
                        <a:pt x="504687" y="854076"/>
                        <a:pt x="504687" y="854076"/>
                        <a:pt x="474015" y="854076"/>
                      </a:cubicBezTo>
                      <a:cubicBezTo>
                        <a:pt x="474015" y="854076"/>
                        <a:pt x="474015" y="854076"/>
                        <a:pt x="474015" y="307204"/>
                      </a:cubicBezTo>
                      <a:cubicBezTo>
                        <a:pt x="474015" y="299361"/>
                        <a:pt x="479722" y="292944"/>
                        <a:pt x="486855" y="291518"/>
                      </a:cubicBezTo>
                      <a:cubicBezTo>
                        <a:pt x="486855" y="291518"/>
                        <a:pt x="486855" y="291518"/>
                        <a:pt x="486855" y="271554"/>
                      </a:cubicBezTo>
                      <a:cubicBezTo>
                        <a:pt x="486855" y="271554"/>
                        <a:pt x="486855" y="271554"/>
                        <a:pt x="77423" y="271554"/>
                      </a:cubicBezTo>
                      <a:cubicBezTo>
                        <a:pt x="77423" y="271554"/>
                        <a:pt x="77423" y="271554"/>
                        <a:pt x="77423" y="291518"/>
                      </a:cubicBezTo>
                      <a:cubicBezTo>
                        <a:pt x="85269" y="292944"/>
                        <a:pt x="90263" y="299361"/>
                        <a:pt x="90263" y="307204"/>
                      </a:cubicBezTo>
                      <a:cubicBezTo>
                        <a:pt x="90263" y="307204"/>
                        <a:pt x="90263" y="307204"/>
                        <a:pt x="90263" y="854076"/>
                      </a:cubicBezTo>
                      <a:cubicBezTo>
                        <a:pt x="90263" y="854076"/>
                        <a:pt x="90263" y="854076"/>
                        <a:pt x="58878" y="854076"/>
                      </a:cubicBezTo>
                      <a:cubicBezTo>
                        <a:pt x="58878" y="854076"/>
                        <a:pt x="58878" y="854076"/>
                        <a:pt x="58878" y="322177"/>
                      </a:cubicBezTo>
                      <a:cubicBezTo>
                        <a:pt x="51745" y="320751"/>
                        <a:pt x="46038" y="314334"/>
                        <a:pt x="46038" y="307204"/>
                      </a:cubicBezTo>
                      <a:cubicBezTo>
                        <a:pt x="46038" y="307204"/>
                        <a:pt x="46038" y="307204"/>
                        <a:pt x="46038" y="255868"/>
                      </a:cubicBezTo>
                      <a:cubicBezTo>
                        <a:pt x="46038" y="246599"/>
                        <a:pt x="53171" y="240182"/>
                        <a:pt x="61731" y="240182"/>
                      </a:cubicBezTo>
                      <a:cubicBezTo>
                        <a:pt x="61731" y="240182"/>
                        <a:pt x="61731" y="240182"/>
                        <a:pt x="80990" y="240182"/>
                      </a:cubicBezTo>
                      <a:cubicBezTo>
                        <a:pt x="80990" y="240182"/>
                        <a:pt x="80990" y="240182"/>
                        <a:pt x="95969" y="204532"/>
                      </a:cubicBezTo>
                      <a:cubicBezTo>
                        <a:pt x="98822" y="198828"/>
                        <a:pt x="104528" y="195263"/>
                        <a:pt x="110948" y="195263"/>
                      </a:cubicBezTo>
                      <a:close/>
                      <a:moveTo>
                        <a:pt x="730964" y="0"/>
                      </a:moveTo>
                      <a:cubicBezTo>
                        <a:pt x="844475" y="0"/>
                        <a:pt x="952274" y="32047"/>
                        <a:pt x="1045796" y="92579"/>
                      </a:cubicBezTo>
                      <a:cubicBezTo>
                        <a:pt x="1040085" y="74063"/>
                        <a:pt x="1040085" y="74063"/>
                        <a:pt x="1040085" y="74063"/>
                      </a:cubicBezTo>
                      <a:cubicBezTo>
                        <a:pt x="1037229" y="66230"/>
                        <a:pt x="1041513" y="56972"/>
                        <a:pt x="1049365" y="54835"/>
                      </a:cubicBezTo>
                      <a:cubicBezTo>
                        <a:pt x="1057932" y="51987"/>
                        <a:pt x="1066499" y="56260"/>
                        <a:pt x="1069355" y="64093"/>
                      </a:cubicBezTo>
                      <a:cubicBezTo>
                        <a:pt x="1091486" y="128899"/>
                        <a:pt x="1091486" y="128899"/>
                        <a:pt x="1091486" y="128899"/>
                      </a:cubicBezTo>
                      <a:cubicBezTo>
                        <a:pt x="1091486" y="129611"/>
                        <a:pt x="1091486" y="130323"/>
                        <a:pt x="1092200" y="131035"/>
                      </a:cubicBezTo>
                      <a:cubicBezTo>
                        <a:pt x="1092200" y="131748"/>
                        <a:pt x="1092200" y="131748"/>
                        <a:pt x="1092200" y="131748"/>
                      </a:cubicBezTo>
                      <a:cubicBezTo>
                        <a:pt x="1092200" y="132460"/>
                        <a:pt x="1092200" y="133884"/>
                        <a:pt x="1092200" y="134596"/>
                      </a:cubicBezTo>
                      <a:cubicBezTo>
                        <a:pt x="1092200" y="136020"/>
                        <a:pt x="1091486" y="136733"/>
                        <a:pt x="1091486" y="138157"/>
                      </a:cubicBezTo>
                      <a:cubicBezTo>
                        <a:pt x="1091486" y="139581"/>
                        <a:pt x="1090772" y="140293"/>
                        <a:pt x="1090772" y="141005"/>
                      </a:cubicBezTo>
                      <a:cubicBezTo>
                        <a:pt x="1090772" y="141005"/>
                        <a:pt x="1090772" y="141005"/>
                        <a:pt x="1090059" y="141005"/>
                      </a:cubicBezTo>
                      <a:cubicBezTo>
                        <a:pt x="1090059" y="141718"/>
                        <a:pt x="1090059" y="142430"/>
                        <a:pt x="1089345" y="143142"/>
                      </a:cubicBezTo>
                      <a:cubicBezTo>
                        <a:pt x="1089345" y="143142"/>
                        <a:pt x="1089345" y="143854"/>
                        <a:pt x="1088631" y="143854"/>
                      </a:cubicBezTo>
                      <a:cubicBezTo>
                        <a:pt x="1087917" y="144566"/>
                        <a:pt x="1087203" y="145278"/>
                        <a:pt x="1086489" y="145991"/>
                      </a:cubicBezTo>
                      <a:cubicBezTo>
                        <a:pt x="1085775" y="146703"/>
                        <a:pt x="1085061" y="147415"/>
                        <a:pt x="1084347" y="148127"/>
                      </a:cubicBezTo>
                      <a:cubicBezTo>
                        <a:pt x="1082919" y="148127"/>
                        <a:pt x="1082206" y="148839"/>
                        <a:pt x="1081492" y="148839"/>
                      </a:cubicBezTo>
                      <a:cubicBezTo>
                        <a:pt x="1081492" y="148839"/>
                        <a:pt x="1081492" y="148839"/>
                        <a:pt x="1081492" y="149551"/>
                      </a:cubicBezTo>
                      <a:cubicBezTo>
                        <a:pt x="1080064" y="149551"/>
                        <a:pt x="1079350" y="149551"/>
                        <a:pt x="1078636" y="149551"/>
                      </a:cubicBezTo>
                      <a:cubicBezTo>
                        <a:pt x="1078636" y="149551"/>
                        <a:pt x="1078636" y="149551"/>
                        <a:pt x="1077922" y="149551"/>
                      </a:cubicBezTo>
                      <a:cubicBezTo>
                        <a:pt x="1077922" y="150263"/>
                        <a:pt x="1077208" y="150263"/>
                        <a:pt x="1077208" y="150263"/>
                      </a:cubicBezTo>
                      <a:cubicBezTo>
                        <a:pt x="1009387" y="152400"/>
                        <a:pt x="1009387" y="152400"/>
                        <a:pt x="1009387" y="152400"/>
                      </a:cubicBezTo>
                      <a:cubicBezTo>
                        <a:pt x="1008673" y="152400"/>
                        <a:pt x="1008673" y="152400"/>
                        <a:pt x="1008673" y="152400"/>
                      </a:cubicBezTo>
                      <a:cubicBezTo>
                        <a:pt x="1000106" y="152400"/>
                        <a:pt x="992967" y="145991"/>
                        <a:pt x="992967" y="136733"/>
                      </a:cubicBezTo>
                      <a:cubicBezTo>
                        <a:pt x="992253" y="128187"/>
                        <a:pt x="999392" y="121065"/>
                        <a:pt x="1007959" y="120353"/>
                      </a:cubicBezTo>
                      <a:cubicBezTo>
                        <a:pt x="1030090" y="119641"/>
                        <a:pt x="1030090" y="119641"/>
                        <a:pt x="1030090" y="119641"/>
                      </a:cubicBezTo>
                      <a:cubicBezTo>
                        <a:pt x="940852" y="61957"/>
                        <a:pt x="838763" y="31334"/>
                        <a:pt x="730964" y="31334"/>
                      </a:cubicBezTo>
                      <a:cubicBezTo>
                        <a:pt x="608172" y="31334"/>
                        <a:pt x="492519" y="71215"/>
                        <a:pt x="396142" y="146703"/>
                      </a:cubicBezTo>
                      <a:cubicBezTo>
                        <a:pt x="393286" y="148839"/>
                        <a:pt x="389717" y="150263"/>
                        <a:pt x="386147" y="150263"/>
                      </a:cubicBezTo>
                      <a:cubicBezTo>
                        <a:pt x="381864" y="150263"/>
                        <a:pt x="376867" y="148127"/>
                        <a:pt x="374011" y="143854"/>
                      </a:cubicBezTo>
                      <a:cubicBezTo>
                        <a:pt x="368300" y="136733"/>
                        <a:pt x="369728" y="126762"/>
                        <a:pt x="376867" y="121065"/>
                      </a:cubicBezTo>
                      <a:cubicBezTo>
                        <a:pt x="478955" y="42017"/>
                        <a:pt x="601033" y="0"/>
                        <a:pt x="73096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 name="Freeform 16">
                  <a:extLst>
                    <a:ext uri="{FF2B5EF4-FFF2-40B4-BE49-F238E27FC236}">
                      <a16:creationId xmlns:a16="http://schemas.microsoft.com/office/drawing/2014/main" id="{1E2280F0-00E5-42D0-8535-B0BA13D3914F}"/>
                    </a:ext>
                  </a:extLst>
                </p:cNvPr>
                <p:cNvSpPr>
                  <a:spLocks/>
                </p:cNvSpPr>
                <p:nvPr/>
              </p:nvSpPr>
              <p:spPr bwMode="auto">
                <a:xfrm>
                  <a:off x="6750049" y="3043237"/>
                  <a:ext cx="1276350" cy="965200"/>
                </a:xfrm>
                <a:custGeom>
                  <a:avLst/>
                  <a:gdLst>
                    <a:gd name="connsiteX0" fmla="*/ 268369 w 1276350"/>
                    <a:gd name="connsiteY0" fmla="*/ 811925 h 965200"/>
                    <a:gd name="connsiteX1" fmla="*/ 284753 w 1276350"/>
                    <a:gd name="connsiteY1" fmla="*/ 826896 h 965200"/>
                    <a:gd name="connsiteX2" fmla="*/ 269794 w 1276350"/>
                    <a:gd name="connsiteY2" fmla="*/ 844006 h 965200"/>
                    <a:gd name="connsiteX3" fmla="*/ 247711 w 1276350"/>
                    <a:gd name="connsiteY3" fmla="*/ 844719 h 965200"/>
                    <a:gd name="connsiteX4" fmla="*/ 546182 w 1276350"/>
                    <a:gd name="connsiteY4" fmla="*/ 933119 h 965200"/>
                    <a:gd name="connsiteX5" fmla="*/ 880270 w 1276350"/>
                    <a:gd name="connsiteY5" fmla="*/ 817628 h 965200"/>
                    <a:gd name="connsiteX6" fmla="*/ 902352 w 1276350"/>
                    <a:gd name="connsiteY6" fmla="*/ 820480 h 965200"/>
                    <a:gd name="connsiteX7" fmla="*/ 899503 w 1276350"/>
                    <a:gd name="connsiteY7" fmla="*/ 843293 h 965200"/>
                    <a:gd name="connsiteX8" fmla="*/ 546182 w 1276350"/>
                    <a:gd name="connsiteY8" fmla="*/ 965200 h 965200"/>
                    <a:gd name="connsiteX9" fmla="*/ 232040 w 1276350"/>
                    <a:gd name="connsiteY9" fmla="*/ 871809 h 965200"/>
                    <a:gd name="connsiteX10" fmla="*/ 237739 w 1276350"/>
                    <a:gd name="connsiteY10" fmla="*/ 890345 h 965200"/>
                    <a:gd name="connsiteX11" fmla="*/ 228478 w 1276350"/>
                    <a:gd name="connsiteY11" fmla="*/ 909593 h 965200"/>
                    <a:gd name="connsiteX12" fmla="*/ 223492 w 1276350"/>
                    <a:gd name="connsiteY12" fmla="*/ 911019 h 965200"/>
                    <a:gd name="connsiteX13" fmla="*/ 208533 w 1276350"/>
                    <a:gd name="connsiteY13" fmla="*/ 900326 h 965200"/>
                    <a:gd name="connsiteX14" fmla="*/ 186450 w 1276350"/>
                    <a:gd name="connsiteY14" fmla="*/ 835451 h 965200"/>
                    <a:gd name="connsiteX15" fmla="*/ 185738 w 1276350"/>
                    <a:gd name="connsiteY15" fmla="*/ 833312 h 965200"/>
                    <a:gd name="connsiteX16" fmla="*/ 185738 w 1276350"/>
                    <a:gd name="connsiteY16" fmla="*/ 832599 h 965200"/>
                    <a:gd name="connsiteX17" fmla="*/ 185738 w 1276350"/>
                    <a:gd name="connsiteY17" fmla="*/ 829748 h 965200"/>
                    <a:gd name="connsiteX18" fmla="*/ 186450 w 1276350"/>
                    <a:gd name="connsiteY18" fmla="*/ 826183 h 965200"/>
                    <a:gd name="connsiteX19" fmla="*/ 187162 w 1276350"/>
                    <a:gd name="connsiteY19" fmla="*/ 823332 h 965200"/>
                    <a:gd name="connsiteX20" fmla="*/ 188587 w 1276350"/>
                    <a:gd name="connsiteY20" fmla="*/ 821193 h 965200"/>
                    <a:gd name="connsiteX21" fmla="*/ 189299 w 1276350"/>
                    <a:gd name="connsiteY21" fmla="*/ 820480 h 965200"/>
                    <a:gd name="connsiteX22" fmla="*/ 191436 w 1276350"/>
                    <a:gd name="connsiteY22" fmla="*/ 818341 h 965200"/>
                    <a:gd name="connsiteX23" fmla="*/ 193573 w 1276350"/>
                    <a:gd name="connsiteY23" fmla="*/ 816202 h 965200"/>
                    <a:gd name="connsiteX24" fmla="*/ 196423 w 1276350"/>
                    <a:gd name="connsiteY24" fmla="*/ 815490 h 965200"/>
                    <a:gd name="connsiteX25" fmla="*/ 196423 w 1276350"/>
                    <a:gd name="connsiteY25" fmla="*/ 814777 h 965200"/>
                    <a:gd name="connsiteX26" fmla="*/ 199272 w 1276350"/>
                    <a:gd name="connsiteY26" fmla="*/ 814777 h 965200"/>
                    <a:gd name="connsiteX27" fmla="*/ 199985 w 1276350"/>
                    <a:gd name="connsiteY27" fmla="*/ 814777 h 965200"/>
                    <a:gd name="connsiteX28" fmla="*/ 200697 w 1276350"/>
                    <a:gd name="connsiteY28" fmla="*/ 814064 h 965200"/>
                    <a:gd name="connsiteX29" fmla="*/ 268369 w 1276350"/>
                    <a:gd name="connsiteY29" fmla="*/ 811925 h 965200"/>
                    <a:gd name="connsiteX30" fmla="*/ 756155 w 1276350"/>
                    <a:gd name="connsiteY30" fmla="*/ 684212 h 965200"/>
                    <a:gd name="connsiteX31" fmla="*/ 1231395 w 1276350"/>
                    <a:gd name="connsiteY31" fmla="*/ 684212 h 965200"/>
                    <a:gd name="connsiteX32" fmla="*/ 1240672 w 1276350"/>
                    <a:gd name="connsiteY32" fmla="*/ 692745 h 965200"/>
                    <a:gd name="connsiteX33" fmla="*/ 1240672 w 1276350"/>
                    <a:gd name="connsiteY33" fmla="*/ 704122 h 965200"/>
                    <a:gd name="connsiteX34" fmla="*/ 1267074 w 1276350"/>
                    <a:gd name="connsiteY34" fmla="*/ 704122 h 965200"/>
                    <a:gd name="connsiteX35" fmla="*/ 1276350 w 1276350"/>
                    <a:gd name="connsiteY35" fmla="*/ 712655 h 965200"/>
                    <a:gd name="connsiteX36" fmla="*/ 1276350 w 1276350"/>
                    <a:gd name="connsiteY36" fmla="*/ 743942 h 965200"/>
                    <a:gd name="connsiteX37" fmla="*/ 1267074 w 1276350"/>
                    <a:gd name="connsiteY37" fmla="*/ 752475 h 965200"/>
                    <a:gd name="connsiteX38" fmla="*/ 719763 w 1276350"/>
                    <a:gd name="connsiteY38" fmla="*/ 752475 h 965200"/>
                    <a:gd name="connsiteX39" fmla="*/ 711200 w 1276350"/>
                    <a:gd name="connsiteY39" fmla="*/ 743942 h 965200"/>
                    <a:gd name="connsiteX40" fmla="*/ 711200 w 1276350"/>
                    <a:gd name="connsiteY40" fmla="*/ 712655 h 965200"/>
                    <a:gd name="connsiteX41" fmla="*/ 719763 w 1276350"/>
                    <a:gd name="connsiteY41" fmla="*/ 704122 h 965200"/>
                    <a:gd name="connsiteX42" fmla="*/ 747592 w 1276350"/>
                    <a:gd name="connsiteY42" fmla="*/ 704122 h 965200"/>
                    <a:gd name="connsiteX43" fmla="*/ 747592 w 1276350"/>
                    <a:gd name="connsiteY43" fmla="*/ 692745 h 965200"/>
                    <a:gd name="connsiteX44" fmla="*/ 756155 w 1276350"/>
                    <a:gd name="connsiteY44" fmla="*/ 684212 h 965200"/>
                    <a:gd name="connsiteX45" fmla="*/ 114351 w 1276350"/>
                    <a:gd name="connsiteY45" fmla="*/ 500062 h 965200"/>
                    <a:gd name="connsiteX46" fmla="*/ 189738 w 1276350"/>
                    <a:gd name="connsiteY46" fmla="*/ 500062 h 965200"/>
                    <a:gd name="connsiteX47" fmla="*/ 196850 w 1276350"/>
                    <a:gd name="connsiteY47" fmla="*/ 507265 h 965200"/>
                    <a:gd name="connsiteX48" fmla="*/ 196850 w 1276350"/>
                    <a:gd name="connsiteY48" fmla="*/ 648435 h 965200"/>
                    <a:gd name="connsiteX49" fmla="*/ 189738 w 1276350"/>
                    <a:gd name="connsiteY49" fmla="*/ 655637 h 965200"/>
                    <a:gd name="connsiteX50" fmla="*/ 114351 w 1276350"/>
                    <a:gd name="connsiteY50" fmla="*/ 655637 h 965200"/>
                    <a:gd name="connsiteX51" fmla="*/ 107950 w 1276350"/>
                    <a:gd name="connsiteY51" fmla="*/ 648435 h 965200"/>
                    <a:gd name="connsiteX52" fmla="*/ 107950 w 1276350"/>
                    <a:gd name="connsiteY52" fmla="*/ 507265 h 965200"/>
                    <a:gd name="connsiteX53" fmla="*/ 114351 w 1276350"/>
                    <a:gd name="connsiteY53" fmla="*/ 500062 h 965200"/>
                    <a:gd name="connsiteX54" fmla="*/ 7069 w 1276350"/>
                    <a:gd name="connsiteY54" fmla="*/ 500062 h 965200"/>
                    <a:gd name="connsiteX55" fmla="*/ 83418 w 1276350"/>
                    <a:gd name="connsiteY55" fmla="*/ 500062 h 965200"/>
                    <a:gd name="connsiteX56" fmla="*/ 90488 w 1276350"/>
                    <a:gd name="connsiteY56" fmla="*/ 507265 h 965200"/>
                    <a:gd name="connsiteX57" fmla="*/ 90488 w 1276350"/>
                    <a:gd name="connsiteY57" fmla="*/ 648435 h 965200"/>
                    <a:gd name="connsiteX58" fmla="*/ 83418 w 1276350"/>
                    <a:gd name="connsiteY58" fmla="*/ 655637 h 965200"/>
                    <a:gd name="connsiteX59" fmla="*/ 7069 w 1276350"/>
                    <a:gd name="connsiteY59" fmla="*/ 655637 h 965200"/>
                    <a:gd name="connsiteX60" fmla="*/ 0 w 1276350"/>
                    <a:gd name="connsiteY60" fmla="*/ 648435 h 965200"/>
                    <a:gd name="connsiteX61" fmla="*/ 0 w 1276350"/>
                    <a:gd name="connsiteY61" fmla="*/ 507265 h 965200"/>
                    <a:gd name="connsiteX62" fmla="*/ 7069 w 1276350"/>
                    <a:gd name="connsiteY62" fmla="*/ 500062 h 965200"/>
                    <a:gd name="connsiteX63" fmla="*/ 78198 w 1276350"/>
                    <a:gd name="connsiteY63" fmla="*/ 284162 h 965200"/>
                    <a:gd name="connsiteX64" fmla="*/ 52388 w 1276350"/>
                    <a:gd name="connsiteY64" fmla="*/ 284878 h 965200"/>
                    <a:gd name="connsiteX65" fmla="*/ 52388 w 1276350"/>
                    <a:gd name="connsiteY65" fmla="*/ 377980 h 965200"/>
                    <a:gd name="connsiteX66" fmla="*/ 77481 w 1276350"/>
                    <a:gd name="connsiteY66" fmla="*/ 379412 h 965200"/>
                    <a:gd name="connsiteX67" fmla="*/ 126233 w 1276350"/>
                    <a:gd name="connsiteY67" fmla="*/ 367953 h 965200"/>
                    <a:gd name="connsiteX68" fmla="*/ 141288 w 1276350"/>
                    <a:gd name="connsiteY68" fmla="*/ 329997 h 965200"/>
                    <a:gd name="connsiteX69" fmla="*/ 126950 w 1276350"/>
                    <a:gd name="connsiteY69" fmla="*/ 294905 h 965200"/>
                    <a:gd name="connsiteX70" fmla="*/ 78198 w 1276350"/>
                    <a:gd name="connsiteY70" fmla="*/ 284162 h 965200"/>
                    <a:gd name="connsiteX71" fmla="*/ 81026 w 1276350"/>
                    <a:gd name="connsiteY71" fmla="*/ 177800 h 965200"/>
                    <a:gd name="connsiteX72" fmla="*/ 52388 w 1276350"/>
                    <a:gd name="connsiteY72" fmla="*/ 178511 h 965200"/>
                    <a:gd name="connsiteX73" fmla="*/ 52388 w 1276350"/>
                    <a:gd name="connsiteY73" fmla="*/ 245352 h 965200"/>
                    <a:gd name="connsiteX74" fmla="*/ 76730 w 1276350"/>
                    <a:gd name="connsiteY74" fmla="*/ 246063 h 965200"/>
                    <a:gd name="connsiteX75" fmla="*/ 125413 w 1276350"/>
                    <a:gd name="connsiteY75" fmla="*/ 209798 h 965200"/>
                    <a:gd name="connsiteX76" fmla="*/ 81026 w 1276350"/>
                    <a:gd name="connsiteY76" fmla="*/ 177800 h 965200"/>
                    <a:gd name="connsiteX77" fmla="*/ 82305 w 1276350"/>
                    <a:gd name="connsiteY77" fmla="*/ 134937 h 965200"/>
                    <a:gd name="connsiteX78" fmla="*/ 150741 w 1276350"/>
                    <a:gd name="connsiteY78" fmla="*/ 153547 h 965200"/>
                    <a:gd name="connsiteX79" fmla="*/ 174979 w 1276350"/>
                    <a:gd name="connsiteY79" fmla="*/ 207230 h 965200"/>
                    <a:gd name="connsiteX80" fmla="*/ 140048 w 1276350"/>
                    <a:gd name="connsiteY80" fmla="*/ 260198 h 965200"/>
                    <a:gd name="connsiteX81" fmla="*/ 192088 w 1276350"/>
                    <a:gd name="connsiteY81" fmla="*/ 335354 h 965200"/>
                    <a:gd name="connsiteX82" fmla="*/ 163573 w 1276350"/>
                    <a:gd name="connsiteY82" fmla="*/ 396911 h 965200"/>
                    <a:gd name="connsiteX83" fmla="*/ 88721 w 1276350"/>
                    <a:gd name="connsiteY83" fmla="*/ 419100 h 965200"/>
                    <a:gd name="connsiteX84" fmla="*/ 10304 w 1276350"/>
                    <a:gd name="connsiteY84" fmla="*/ 419100 h 965200"/>
                    <a:gd name="connsiteX85" fmla="*/ 3175 w 1276350"/>
                    <a:gd name="connsiteY85" fmla="*/ 411942 h 965200"/>
                    <a:gd name="connsiteX86" fmla="*/ 3175 w 1276350"/>
                    <a:gd name="connsiteY86" fmla="*/ 144958 h 965200"/>
                    <a:gd name="connsiteX87" fmla="*/ 9591 w 1276350"/>
                    <a:gd name="connsiteY87" fmla="*/ 137800 h 965200"/>
                    <a:gd name="connsiteX88" fmla="*/ 82305 w 1276350"/>
                    <a:gd name="connsiteY88" fmla="*/ 134937 h 965200"/>
                    <a:gd name="connsiteX89" fmla="*/ 831214 w 1276350"/>
                    <a:gd name="connsiteY89" fmla="*/ 31750 h 965200"/>
                    <a:gd name="connsiteX90" fmla="*/ 825500 w 1276350"/>
                    <a:gd name="connsiteY90" fmla="*/ 44450 h 965200"/>
                    <a:gd name="connsiteX91" fmla="*/ 1160463 w 1276350"/>
                    <a:gd name="connsiteY91" fmla="*/ 44450 h 965200"/>
                    <a:gd name="connsiteX92" fmla="*/ 1154750 w 1276350"/>
                    <a:gd name="connsiteY92" fmla="*/ 31750 h 965200"/>
                    <a:gd name="connsiteX93" fmla="*/ 831214 w 1276350"/>
                    <a:gd name="connsiteY93" fmla="*/ 31750 h 965200"/>
                    <a:gd name="connsiteX94" fmla="*/ 821554 w 1276350"/>
                    <a:gd name="connsiteY94" fmla="*/ 0 h 965200"/>
                    <a:gd name="connsiteX95" fmla="*/ 1165283 w 1276350"/>
                    <a:gd name="connsiteY95" fmla="*/ 0 h 965200"/>
                    <a:gd name="connsiteX96" fmla="*/ 1180290 w 1276350"/>
                    <a:gd name="connsiteY96" fmla="*/ 9269 h 965200"/>
                    <a:gd name="connsiteX97" fmla="*/ 1195297 w 1276350"/>
                    <a:gd name="connsiteY97" fmla="*/ 44919 h 965200"/>
                    <a:gd name="connsiteX98" fmla="*/ 1214592 w 1276350"/>
                    <a:gd name="connsiteY98" fmla="*/ 44919 h 965200"/>
                    <a:gd name="connsiteX99" fmla="*/ 1230313 w 1276350"/>
                    <a:gd name="connsiteY99" fmla="*/ 60605 h 965200"/>
                    <a:gd name="connsiteX100" fmla="*/ 1230313 w 1276350"/>
                    <a:gd name="connsiteY100" fmla="*/ 111941 h 965200"/>
                    <a:gd name="connsiteX101" fmla="*/ 1217450 w 1276350"/>
                    <a:gd name="connsiteY101" fmla="*/ 126914 h 965200"/>
                    <a:gd name="connsiteX102" fmla="*/ 1217450 w 1276350"/>
                    <a:gd name="connsiteY102" fmla="*/ 658813 h 965200"/>
                    <a:gd name="connsiteX103" fmla="*/ 1186007 w 1276350"/>
                    <a:gd name="connsiteY103" fmla="*/ 658813 h 965200"/>
                    <a:gd name="connsiteX104" fmla="*/ 1186007 w 1276350"/>
                    <a:gd name="connsiteY104" fmla="*/ 111941 h 965200"/>
                    <a:gd name="connsiteX105" fmla="*/ 1198870 w 1276350"/>
                    <a:gd name="connsiteY105" fmla="*/ 96255 h 965200"/>
                    <a:gd name="connsiteX106" fmla="*/ 1198870 w 1276350"/>
                    <a:gd name="connsiteY106" fmla="*/ 76291 h 965200"/>
                    <a:gd name="connsiteX107" fmla="*/ 788681 w 1276350"/>
                    <a:gd name="connsiteY107" fmla="*/ 76291 h 965200"/>
                    <a:gd name="connsiteX108" fmla="*/ 788681 w 1276350"/>
                    <a:gd name="connsiteY108" fmla="*/ 96255 h 965200"/>
                    <a:gd name="connsiteX109" fmla="*/ 801544 w 1276350"/>
                    <a:gd name="connsiteY109" fmla="*/ 111941 h 965200"/>
                    <a:gd name="connsiteX110" fmla="*/ 801544 w 1276350"/>
                    <a:gd name="connsiteY110" fmla="*/ 658813 h 965200"/>
                    <a:gd name="connsiteX111" fmla="*/ 770101 w 1276350"/>
                    <a:gd name="connsiteY111" fmla="*/ 658813 h 965200"/>
                    <a:gd name="connsiteX112" fmla="*/ 770101 w 1276350"/>
                    <a:gd name="connsiteY112" fmla="*/ 126914 h 965200"/>
                    <a:gd name="connsiteX113" fmla="*/ 757238 w 1276350"/>
                    <a:gd name="connsiteY113" fmla="*/ 111941 h 965200"/>
                    <a:gd name="connsiteX114" fmla="*/ 757238 w 1276350"/>
                    <a:gd name="connsiteY114" fmla="*/ 60605 h 965200"/>
                    <a:gd name="connsiteX115" fmla="*/ 772960 w 1276350"/>
                    <a:gd name="connsiteY115" fmla="*/ 44919 h 965200"/>
                    <a:gd name="connsiteX116" fmla="*/ 791540 w 1276350"/>
                    <a:gd name="connsiteY116" fmla="*/ 44919 h 965200"/>
                    <a:gd name="connsiteX117" fmla="*/ 807261 w 1276350"/>
                    <a:gd name="connsiteY117" fmla="*/ 9269 h 965200"/>
                    <a:gd name="connsiteX118" fmla="*/ 821554 w 1276350"/>
                    <a:gd name="connsiteY118" fmla="*/ 0 h 96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76350" h="965200">
                      <a:moveTo>
                        <a:pt x="268369" y="811925"/>
                      </a:moveTo>
                      <a:cubicBezTo>
                        <a:pt x="277630" y="811212"/>
                        <a:pt x="284753" y="818341"/>
                        <a:pt x="284753" y="826896"/>
                      </a:cubicBezTo>
                      <a:cubicBezTo>
                        <a:pt x="285465" y="836164"/>
                        <a:pt x="278342" y="843293"/>
                        <a:pt x="269794" y="844006"/>
                      </a:cubicBezTo>
                      <a:cubicBezTo>
                        <a:pt x="269794" y="844006"/>
                        <a:pt x="269794" y="844006"/>
                        <a:pt x="247711" y="844719"/>
                      </a:cubicBezTo>
                      <a:cubicBezTo>
                        <a:pt x="336754" y="902464"/>
                        <a:pt x="438619" y="933119"/>
                        <a:pt x="546182" y="933119"/>
                      </a:cubicBezTo>
                      <a:cubicBezTo>
                        <a:pt x="668704" y="933119"/>
                        <a:pt x="784104" y="893196"/>
                        <a:pt x="880270" y="817628"/>
                      </a:cubicBezTo>
                      <a:cubicBezTo>
                        <a:pt x="887393" y="812638"/>
                        <a:pt x="897366" y="813351"/>
                        <a:pt x="902352" y="820480"/>
                      </a:cubicBezTo>
                      <a:cubicBezTo>
                        <a:pt x="908051" y="826896"/>
                        <a:pt x="906627" y="837590"/>
                        <a:pt x="899503" y="843293"/>
                      </a:cubicBezTo>
                      <a:cubicBezTo>
                        <a:pt x="797638" y="922426"/>
                        <a:pt x="675828" y="965200"/>
                        <a:pt x="546182" y="965200"/>
                      </a:cubicBezTo>
                      <a:cubicBezTo>
                        <a:pt x="432920" y="965200"/>
                        <a:pt x="325356" y="932406"/>
                        <a:pt x="232040" y="871809"/>
                      </a:cubicBezTo>
                      <a:cubicBezTo>
                        <a:pt x="232040" y="871809"/>
                        <a:pt x="232040" y="871809"/>
                        <a:pt x="237739" y="890345"/>
                      </a:cubicBezTo>
                      <a:cubicBezTo>
                        <a:pt x="240588" y="898187"/>
                        <a:pt x="236314" y="907455"/>
                        <a:pt x="228478" y="909593"/>
                      </a:cubicBezTo>
                      <a:cubicBezTo>
                        <a:pt x="226341" y="910306"/>
                        <a:pt x="224916" y="911019"/>
                        <a:pt x="223492" y="911019"/>
                      </a:cubicBezTo>
                      <a:cubicBezTo>
                        <a:pt x="216368" y="911019"/>
                        <a:pt x="210670" y="906742"/>
                        <a:pt x="208533" y="900326"/>
                      </a:cubicBezTo>
                      <a:cubicBezTo>
                        <a:pt x="208533" y="900326"/>
                        <a:pt x="208533" y="900326"/>
                        <a:pt x="186450" y="835451"/>
                      </a:cubicBezTo>
                      <a:cubicBezTo>
                        <a:pt x="186450" y="834738"/>
                        <a:pt x="186450" y="834025"/>
                        <a:pt x="185738" y="833312"/>
                      </a:cubicBezTo>
                      <a:cubicBezTo>
                        <a:pt x="185738" y="832599"/>
                        <a:pt x="185738" y="832599"/>
                        <a:pt x="185738" y="832599"/>
                      </a:cubicBezTo>
                      <a:cubicBezTo>
                        <a:pt x="185738" y="831886"/>
                        <a:pt x="185738" y="830461"/>
                        <a:pt x="185738" y="829748"/>
                      </a:cubicBezTo>
                      <a:cubicBezTo>
                        <a:pt x="185738" y="827609"/>
                        <a:pt x="186450" y="826896"/>
                        <a:pt x="186450" y="826183"/>
                      </a:cubicBezTo>
                      <a:cubicBezTo>
                        <a:pt x="186450" y="824757"/>
                        <a:pt x="187162" y="824044"/>
                        <a:pt x="187162" y="823332"/>
                      </a:cubicBezTo>
                      <a:cubicBezTo>
                        <a:pt x="187875" y="822619"/>
                        <a:pt x="187875" y="821906"/>
                        <a:pt x="188587" y="821193"/>
                      </a:cubicBezTo>
                      <a:cubicBezTo>
                        <a:pt x="188587" y="821193"/>
                        <a:pt x="188587" y="820480"/>
                        <a:pt x="189299" y="820480"/>
                      </a:cubicBezTo>
                      <a:cubicBezTo>
                        <a:pt x="190012" y="819767"/>
                        <a:pt x="190724" y="819054"/>
                        <a:pt x="191436" y="818341"/>
                      </a:cubicBezTo>
                      <a:cubicBezTo>
                        <a:pt x="192149" y="817628"/>
                        <a:pt x="192861" y="816915"/>
                        <a:pt x="193573" y="816202"/>
                      </a:cubicBezTo>
                      <a:cubicBezTo>
                        <a:pt x="194998" y="816202"/>
                        <a:pt x="195711" y="815490"/>
                        <a:pt x="196423" y="815490"/>
                      </a:cubicBezTo>
                      <a:cubicBezTo>
                        <a:pt x="196423" y="815490"/>
                        <a:pt x="196423" y="815490"/>
                        <a:pt x="196423" y="814777"/>
                      </a:cubicBezTo>
                      <a:cubicBezTo>
                        <a:pt x="197848" y="814777"/>
                        <a:pt x="198560" y="814777"/>
                        <a:pt x="199272" y="814777"/>
                      </a:cubicBezTo>
                      <a:cubicBezTo>
                        <a:pt x="199272" y="814777"/>
                        <a:pt x="199272" y="814777"/>
                        <a:pt x="199985" y="814777"/>
                      </a:cubicBezTo>
                      <a:cubicBezTo>
                        <a:pt x="199985" y="814064"/>
                        <a:pt x="200697" y="814064"/>
                        <a:pt x="200697" y="814064"/>
                      </a:cubicBezTo>
                      <a:cubicBezTo>
                        <a:pt x="200697" y="814064"/>
                        <a:pt x="200697" y="814064"/>
                        <a:pt x="268369" y="811925"/>
                      </a:cubicBezTo>
                      <a:close/>
                      <a:moveTo>
                        <a:pt x="756155" y="684212"/>
                      </a:moveTo>
                      <a:cubicBezTo>
                        <a:pt x="756155" y="684212"/>
                        <a:pt x="756155" y="684212"/>
                        <a:pt x="1231395" y="684212"/>
                      </a:cubicBezTo>
                      <a:cubicBezTo>
                        <a:pt x="1236390" y="684212"/>
                        <a:pt x="1240672" y="687767"/>
                        <a:pt x="1240672" y="692745"/>
                      </a:cubicBezTo>
                      <a:cubicBezTo>
                        <a:pt x="1240672" y="692745"/>
                        <a:pt x="1240672" y="692745"/>
                        <a:pt x="1240672" y="704122"/>
                      </a:cubicBezTo>
                      <a:cubicBezTo>
                        <a:pt x="1240672" y="704122"/>
                        <a:pt x="1240672" y="704122"/>
                        <a:pt x="1267074" y="704122"/>
                      </a:cubicBezTo>
                      <a:cubicBezTo>
                        <a:pt x="1272069" y="704122"/>
                        <a:pt x="1276350" y="707678"/>
                        <a:pt x="1276350" y="712655"/>
                      </a:cubicBezTo>
                      <a:cubicBezTo>
                        <a:pt x="1276350" y="712655"/>
                        <a:pt x="1276350" y="712655"/>
                        <a:pt x="1276350" y="743942"/>
                      </a:cubicBezTo>
                      <a:cubicBezTo>
                        <a:pt x="1276350" y="748920"/>
                        <a:pt x="1272069" y="752475"/>
                        <a:pt x="1267074" y="752475"/>
                      </a:cubicBezTo>
                      <a:cubicBezTo>
                        <a:pt x="1267074" y="752475"/>
                        <a:pt x="1267074" y="752475"/>
                        <a:pt x="719763" y="752475"/>
                      </a:cubicBezTo>
                      <a:cubicBezTo>
                        <a:pt x="714768" y="752475"/>
                        <a:pt x="711200" y="748920"/>
                        <a:pt x="711200" y="743942"/>
                      </a:cubicBezTo>
                      <a:cubicBezTo>
                        <a:pt x="711200" y="743942"/>
                        <a:pt x="711200" y="743942"/>
                        <a:pt x="711200" y="712655"/>
                      </a:cubicBezTo>
                      <a:cubicBezTo>
                        <a:pt x="711200" y="707678"/>
                        <a:pt x="714768" y="704122"/>
                        <a:pt x="719763" y="704122"/>
                      </a:cubicBezTo>
                      <a:cubicBezTo>
                        <a:pt x="719763" y="704122"/>
                        <a:pt x="719763" y="704122"/>
                        <a:pt x="747592" y="704122"/>
                      </a:cubicBezTo>
                      <a:cubicBezTo>
                        <a:pt x="747592" y="704122"/>
                        <a:pt x="747592" y="704122"/>
                        <a:pt x="747592" y="692745"/>
                      </a:cubicBezTo>
                      <a:cubicBezTo>
                        <a:pt x="747592" y="687767"/>
                        <a:pt x="751160" y="684212"/>
                        <a:pt x="756155" y="684212"/>
                      </a:cubicBezTo>
                      <a:close/>
                      <a:moveTo>
                        <a:pt x="114351" y="500062"/>
                      </a:moveTo>
                      <a:cubicBezTo>
                        <a:pt x="114351" y="500062"/>
                        <a:pt x="114351" y="500062"/>
                        <a:pt x="189738" y="500062"/>
                      </a:cubicBezTo>
                      <a:cubicBezTo>
                        <a:pt x="193294" y="500062"/>
                        <a:pt x="196850" y="503663"/>
                        <a:pt x="196850" y="507265"/>
                      </a:cubicBezTo>
                      <a:cubicBezTo>
                        <a:pt x="196850" y="507265"/>
                        <a:pt x="196850" y="507265"/>
                        <a:pt x="196850" y="648435"/>
                      </a:cubicBezTo>
                      <a:cubicBezTo>
                        <a:pt x="196850" y="652756"/>
                        <a:pt x="193294" y="655637"/>
                        <a:pt x="189738" y="655637"/>
                      </a:cubicBezTo>
                      <a:cubicBezTo>
                        <a:pt x="189738" y="655637"/>
                        <a:pt x="189738" y="655637"/>
                        <a:pt x="114351" y="655637"/>
                      </a:cubicBezTo>
                      <a:cubicBezTo>
                        <a:pt x="110083" y="655637"/>
                        <a:pt x="107950" y="652756"/>
                        <a:pt x="107950" y="648435"/>
                      </a:cubicBezTo>
                      <a:cubicBezTo>
                        <a:pt x="107950" y="648435"/>
                        <a:pt x="107950" y="648435"/>
                        <a:pt x="107950" y="507265"/>
                      </a:cubicBezTo>
                      <a:cubicBezTo>
                        <a:pt x="107950" y="503663"/>
                        <a:pt x="110083" y="500062"/>
                        <a:pt x="114351" y="500062"/>
                      </a:cubicBezTo>
                      <a:close/>
                      <a:moveTo>
                        <a:pt x="7069" y="500062"/>
                      </a:moveTo>
                      <a:cubicBezTo>
                        <a:pt x="7069" y="500062"/>
                        <a:pt x="7069" y="500062"/>
                        <a:pt x="83418" y="500062"/>
                      </a:cubicBezTo>
                      <a:cubicBezTo>
                        <a:pt x="86953" y="500062"/>
                        <a:pt x="90488" y="503663"/>
                        <a:pt x="90488" y="507265"/>
                      </a:cubicBezTo>
                      <a:cubicBezTo>
                        <a:pt x="90488" y="507265"/>
                        <a:pt x="90488" y="507265"/>
                        <a:pt x="90488" y="648435"/>
                      </a:cubicBezTo>
                      <a:cubicBezTo>
                        <a:pt x="90488" y="652756"/>
                        <a:pt x="86953" y="655637"/>
                        <a:pt x="83418" y="655637"/>
                      </a:cubicBezTo>
                      <a:cubicBezTo>
                        <a:pt x="83418" y="655637"/>
                        <a:pt x="83418" y="655637"/>
                        <a:pt x="7069" y="655637"/>
                      </a:cubicBezTo>
                      <a:cubicBezTo>
                        <a:pt x="2828" y="655637"/>
                        <a:pt x="0" y="652756"/>
                        <a:pt x="0" y="648435"/>
                      </a:cubicBezTo>
                      <a:cubicBezTo>
                        <a:pt x="0" y="648435"/>
                        <a:pt x="0" y="648435"/>
                        <a:pt x="0" y="507265"/>
                      </a:cubicBezTo>
                      <a:cubicBezTo>
                        <a:pt x="0" y="503663"/>
                        <a:pt x="2828" y="500062"/>
                        <a:pt x="7069" y="500062"/>
                      </a:cubicBezTo>
                      <a:close/>
                      <a:moveTo>
                        <a:pt x="78198" y="284162"/>
                      </a:moveTo>
                      <a:cubicBezTo>
                        <a:pt x="73179" y="284162"/>
                        <a:pt x="64576" y="284162"/>
                        <a:pt x="52388" y="284878"/>
                      </a:cubicBezTo>
                      <a:cubicBezTo>
                        <a:pt x="52388" y="284878"/>
                        <a:pt x="52388" y="284878"/>
                        <a:pt x="52388" y="377980"/>
                      </a:cubicBezTo>
                      <a:cubicBezTo>
                        <a:pt x="62425" y="378696"/>
                        <a:pt x="71029" y="379412"/>
                        <a:pt x="77481" y="379412"/>
                      </a:cubicBezTo>
                      <a:cubicBezTo>
                        <a:pt x="99706" y="379412"/>
                        <a:pt x="115479" y="375115"/>
                        <a:pt x="126233" y="367953"/>
                      </a:cubicBezTo>
                      <a:cubicBezTo>
                        <a:pt x="136270" y="360076"/>
                        <a:pt x="141288" y="347901"/>
                        <a:pt x="141288" y="329997"/>
                      </a:cubicBezTo>
                      <a:cubicBezTo>
                        <a:pt x="141288" y="314241"/>
                        <a:pt x="136270" y="302066"/>
                        <a:pt x="126950" y="294905"/>
                      </a:cubicBezTo>
                      <a:cubicBezTo>
                        <a:pt x="117629" y="287743"/>
                        <a:pt x="101140" y="284162"/>
                        <a:pt x="78198" y="284162"/>
                      </a:cubicBezTo>
                      <a:close/>
                      <a:moveTo>
                        <a:pt x="81026" y="177800"/>
                      </a:moveTo>
                      <a:cubicBezTo>
                        <a:pt x="73150" y="177800"/>
                        <a:pt x="63843" y="177800"/>
                        <a:pt x="52388" y="178511"/>
                      </a:cubicBezTo>
                      <a:cubicBezTo>
                        <a:pt x="52388" y="178511"/>
                        <a:pt x="52388" y="178511"/>
                        <a:pt x="52388" y="245352"/>
                      </a:cubicBezTo>
                      <a:cubicBezTo>
                        <a:pt x="60263" y="246063"/>
                        <a:pt x="68139" y="246063"/>
                        <a:pt x="76730" y="246063"/>
                      </a:cubicBezTo>
                      <a:cubicBezTo>
                        <a:pt x="109663" y="246063"/>
                        <a:pt x="125413" y="233975"/>
                        <a:pt x="125413" y="209798"/>
                      </a:cubicBezTo>
                      <a:cubicBezTo>
                        <a:pt x="125413" y="188466"/>
                        <a:pt x="111095" y="177800"/>
                        <a:pt x="81026" y="177800"/>
                      </a:cubicBezTo>
                      <a:close/>
                      <a:moveTo>
                        <a:pt x="82305" y="134937"/>
                      </a:moveTo>
                      <a:cubicBezTo>
                        <a:pt x="111533" y="134937"/>
                        <a:pt x="134345" y="141379"/>
                        <a:pt x="150741" y="153547"/>
                      </a:cubicBezTo>
                      <a:cubicBezTo>
                        <a:pt x="167137" y="166431"/>
                        <a:pt x="174979" y="184326"/>
                        <a:pt x="174979" y="207230"/>
                      </a:cubicBezTo>
                      <a:cubicBezTo>
                        <a:pt x="174979" y="229420"/>
                        <a:pt x="163573" y="247314"/>
                        <a:pt x="140048" y="260198"/>
                      </a:cubicBezTo>
                      <a:cubicBezTo>
                        <a:pt x="174979" y="272366"/>
                        <a:pt x="192088" y="297418"/>
                        <a:pt x="192088" y="335354"/>
                      </a:cubicBezTo>
                      <a:cubicBezTo>
                        <a:pt x="192088" y="361122"/>
                        <a:pt x="182821" y="381880"/>
                        <a:pt x="163573" y="396911"/>
                      </a:cubicBezTo>
                      <a:cubicBezTo>
                        <a:pt x="144325" y="411942"/>
                        <a:pt x="119375" y="419100"/>
                        <a:pt x="88721" y="419100"/>
                      </a:cubicBezTo>
                      <a:cubicBezTo>
                        <a:pt x="88721" y="419100"/>
                        <a:pt x="88721" y="419100"/>
                        <a:pt x="10304" y="419100"/>
                      </a:cubicBezTo>
                      <a:cubicBezTo>
                        <a:pt x="6027" y="419100"/>
                        <a:pt x="3175" y="416237"/>
                        <a:pt x="3175" y="411942"/>
                      </a:cubicBezTo>
                      <a:cubicBezTo>
                        <a:pt x="3175" y="411942"/>
                        <a:pt x="3175" y="411942"/>
                        <a:pt x="3175" y="144958"/>
                      </a:cubicBezTo>
                      <a:cubicBezTo>
                        <a:pt x="3175" y="140663"/>
                        <a:pt x="6027" y="137800"/>
                        <a:pt x="9591" y="137800"/>
                      </a:cubicBezTo>
                      <a:cubicBezTo>
                        <a:pt x="43809" y="135653"/>
                        <a:pt x="68047" y="134937"/>
                        <a:pt x="82305" y="134937"/>
                      </a:cubicBezTo>
                      <a:close/>
                      <a:moveTo>
                        <a:pt x="831214" y="31750"/>
                      </a:moveTo>
                      <a:cubicBezTo>
                        <a:pt x="831214" y="31750"/>
                        <a:pt x="831214" y="31750"/>
                        <a:pt x="825500" y="44450"/>
                      </a:cubicBezTo>
                      <a:cubicBezTo>
                        <a:pt x="825500" y="44450"/>
                        <a:pt x="825500" y="44450"/>
                        <a:pt x="1160463" y="44450"/>
                      </a:cubicBezTo>
                      <a:cubicBezTo>
                        <a:pt x="1160463" y="44450"/>
                        <a:pt x="1160463" y="44450"/>
                        <a:pt x="1154750" y="31750"/>
                      </a:cubicBezTo>
                      <a:cubicBezTo>
                        <a:pt x="1154750" y="31750"/>
                        <a:pt x="1154750" y="31750"/>
                        <a:pt x="831214" y="31750"/>
                      </a:cubicBezTo>
                      <a:close/>
                      <a:moveTo>
                        <a:pt x="821554" y="0"/>
                      </a:moveTo>
                      <a:cubicBezTo>
                        <a:pt x="821554" y="0"/>
                        <a:pt x="821554" y="0"/>
                        <a:pt x="1165283" y="0"/>
                      </a:cubicBezTo>
                      <a:cubicBezTo>
                        <a:pt x="1171715" y="0"/>
                        <a:pt x="1177432" y="3565"/>
                        <a:pt x="1180290" y="9269"/>
                      </a:cubicBezTo>
                      <a:cubicBezTo>
                        <a:pt x="1180290" y="9269"/>
                        <a:pt x="1180290" y="9269"/>
                        <a:pt x="1195297" y="44919"/>
                      </a:cubicBezTo>
                      <a:cubicBezTo>
                        <a:pt x="1195297" y="44919"/>
                        <a:pt x="1195297" y="44919"/>
                        <a:pt x="1214592" y="44919"/>
                      </a:cubicBezTo>
                      <a:cubicBezTo>
                        <a:pt x="1223167" y="44919"/>
                        <a:pt x="1230313" y="51336"/>
                        <a:pt x="1230313" y="60605"/>
                      </a:cubicBezTo>
                      <a:cubicBezTo>
                        <a:pt x="1230313" y="60605"/>
                        <a:pt x="1230313" y="60605"/>
                        <a:pt x="1230313" y="111941"/>
                      </a:cubicBezTo>
                      <a:cubicBezTo>
                        <a:pt x="1230313" y="119071"/>
                        <a:pt x="1224596" y="125488"/>
                        <a:pt x="1217450" y="126914"/>
                      </a:cubicBezTo>
                      <a:cubicBezTo>
                        <a:pt x="1217450" y="126914"/>
                        <a:pt x="1217450" y="126914"/>
                        <a:pt x="1217450" y="658813"/>
                      </a:cubicBezTo>
                      <a:cubicBezTo>
                        <a:pt x="1217450" y="658813"/>
                        <a:pt x="1217450" y="658813"/>
                        <a:pt x="1186007" y="658813"/>
                      </a:cubicBezTo>
                      <a:cubicBezTo>
                        <a:pt x="1186007" y="658813"/>
                        <a:pt x="1186007" y="658813"/>
                        <a:pt x="1186007" y="111941"/>
                      </a:cubicBezTo>
                      <a:cubicBezTo>
                        <a:pt x="1186007" y="104098"/>
                        <a:pt x="1191009" y="97681"/>
                        <a:pt x="1198870" y="96255"/>
                      </a:cubicBezTo>
                      <a:cubicBezTo>
                        <a:pt x="1198870" y="96255"/>
                        <a:pt x="1198870" y="96255"/>
                        <a:pt x="1198870" y="76291"/>
                      </a:cubicBezTo>
                      <a:cubicBezTo>
                        <a:pt x="1198870" y="76291"/>
                        <a:pt x="1198870" y="76291"/>
                        <a:pt x="788681" y="76291"/>
                      </a:cubicBezTo>
                      <a:cubicBezTo>
                        <a:pt x="788681" y="76291"/>
                        <a:pt x="788681" y="76291"/>
                        <a:pt x="788681" y="96255"/>
                      </a:cubicBezTo>
                      <a:cubicBezTo>
                        <a:pt x="795827" y="97681"/>
                        <a:pt x="801544" y="104098"/>
                        <a:pt x="801544" y="111941"/>
                      </a:cubicBezTo>
                      <a:cubicBezTo>
                        <a:pt x="801544" y="111941"/>
                        <a:pt x="801544" y="111941"/>
                        <a:pt x="801544" y="658813"/>
                      </a:cubicBezTo>
                      <a:cubicBezTo>
                        <a:pt x="801544" y="658813"/>
                        <a:pt x="801544" y="658813"/>
                        <a:pt x="770101" y="658813"/>
                      </a:cubicBezTo>
                      <a:cubicBezTo>
                        <a:pt x="770101" y="658813"/>
                        <a:pt x="770101" y="658813"/>
                        <a:pt x="770101" y="126914"/>
                      </a:cubicBezTo>
                      <a:cubicBezTo>
                        <a:pt x="762241" y="125488"/>
                        <a:pt x="757238" y="119071"/>
                        <a:pt x="757238" y="111941"/>
                      </a:cubicBezTo>
                      <a:cubicBezTo>
                        <a:pt x="757238" y="111941"/>
                        <a:pt x="757238" y="111941"/>
                        <a:pt x="757238" y="60605"/>
                      </a:cubicBezTo>
                      <a:cubicBezTo>
                        <a:pt x="757238" y="51336"/>
                        <a:pt x="763670" y="44919"/>
                        <a:pt x="772960" y="44919"/>
                      </a:cubicBezTo>
                      <a:cubicBezTo>
                        <a:pt x="772960" y="44919"/>
                        <a:pt x="772960" y="44919"/>
                        <a:pt x="791540" y="44919"/>
                      </a:cubicBezTo>
                      <a:cubicBezTo>
                        <a:pt x="791540" y="44919"/>
                        <a:pt x="791540" y="44919"/>
                        <a:pt x="807261" y="9269"/>
                      </a:cubicBezTo>
                      <a:cubicBezTo>
                        <a:pt x="809405" y="3565"/>
                        <a:pt x="815122" y="0"/>
                        <a:pt x="82155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5" name="正方形/長方形 4">
              <a:extLst>
                <a:ext uri="{FF2B5EF4-FFF2-40B4-BE49-F238E27FC236}">
                  <a16:creationId xmlns:a16="http://schemas.microsoft.com/office/drawing/2014/main" id="{38F3C7B1-15AA-4528-BDF2-C4BD010ED15C}"/>
                </a:ext>
              </a:extLst>
            </p:cNvPr>
            <p:cNvSpPr/>
            <p:nvPr/>
          </p:nvSpPr>
          <p:spPr>
            <a:xfrm>
              <a:off x="4697604" y="2502039"/>
              <a:ext cx="165798" cy="21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10A495AD-2B90-4E5F-B87F-85B7862A64B2}"/>
                </a:ext>
              </a:extLst>
            </p:cNvPr>
            <p:cNvGrpSpPr/>
            <p:nvPr/>
          </p:nvGrpSpPr>
          <p:grpSpPr>
            <a:xfrm>
              <a:off x="4687677" y="2508649"/>
              <a:ext cx="185653" cy="101409"/>
              <a:chOff x="4683011" y="2508649"/>
              <a:chExt cx="185653" cy="101409"/>
            </a:xfrm>
          </p:grpSpPr>
          <p:sp>
            <p:nvSpPr>
              <p:cNvPr id="59" name="正方形/長方形 58">
                <a:extLst>
                  <a:ext uri="{FF2B5EF4-FFF2-40B4-BE49-F238E27FC236}">
                    <a16:creationId xmlns:a16="http://schemas.microsoft.com/office/drawing/2014/main" id="{E9A3DD42-5772-437C-BFFB-02B2034A09B1}"/>
                  </a:ext>
                </a:extLst>
              </p:cNvPr>
              <p:cNvSpPr/>
              <p:nvPr/>
            </p:nvSpPr>
            <p:spPr>
              <a:xfrm>
                <a:off x="4683011"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944D24DC-A4F9-42EC-BA4B-64ADD9CDAFD0}"/>
                  </a:ext>
                </a:extLst>
              </p:cNvPr>
              <p:cNvSpPr/>
              <p:nvPr/>
            </p:nvSpPr>
            <p:spPr>
              <a:xfrm>
                <a:off x="4748755"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A6655225-5DAC-408F-8484-448A55A5CC23}"/>
                  </a:ext>
                </a:extLst>
              </p:cNvPr>
              <p:cNvSpPr/>
              <p:nvPr/>
            </p:nvSpPr>
            <p:spPr>
              <a:xfrm>
                <a:off x="4814498"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grpSp>
          <p:nvGrpSpPr>
            <p:cNvPr id="62" name="グループ化 61">
              <a:extLst>
                <a:ext uri="{FF2B5EF4-FFF2-40B4-BE49-F238E27FC236}">
                  <a16:creationId xmlns:a16="http://schemas.microsoft.com/office/drawing/2014/main" id="{26C5D7E1-5E45-4E34-80AE-DC4522F549ED}"/>
                </a:ext>
              </a:extLst>
            </p:cNvPr>
            <p:cNvGrpSpPr/>
            <p:nvPr/>
          </p:nvGrpSpPr>
          <p:grpSpPr>
            <a:xfrm>
              <a:off x="4687677" y="2624205"/>
              <a:ext cx="185653" cy="101409"/>
              <a:chOff x="4683011" y="2508649"/>
              <a:chExt cx="185653" cy="101409"/>
            </a:xfrm>
          </p:grpSpPr>
          <p:sp>
            <p:nvSpPr>
              <p:cNvPr id="63" name="正方形/長方形 62">
                <a:extLst>
                  <a:ext uri="{FF2B5EF4-FFF2-40B4-BE49-F238E27FC236}">
                    <a16:creationId xmlns:a16="http://schemas.microsoft.com/office/drawing/2014/main" id="{2A029AE3-C7A7-4919-94E5-BCB0CC9EB95D}"/>
                  </a:ext>
                </a:extLst>
              </p:cNvPr>
              <p:cNvSpPr/>
              <p:nvPr/>
            </p:nvSpPr>
            <p:spPr>
              <a:xfrm>
                <a:off x="4683011"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A268C597-397E-47D9-9CFA-0D7CD39CED51}"/>
                  </a:ext>
                </a:extLst>
              </p:cNvPr>
              <p:cNvSpPr/>
              <p:nvPr/>
            </p:nvSpPr>
            <p:spPr>
              <a:xfrm>
                <a:off x="4748755"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3570E2A4-7466-4930-B1DD-5F01D710FCF5}"/>
                  </a:ext>
                </a:extLst>
              </p:cNvPr>
              <p:cNvSpPr/>
              <p:nvPr/>
            </p:nvSpPr>
            <p:spPr>
              <a:xfrm>
                <a:off x="4814498" y="2508649"/>
                <a:ext cx="54166" cy="10140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sp>
          <p:nvSpPr>
            <p:cNvPr id="8" name="正方形/長方形 7">
              <a:extLst>
                <a:ext uri="{FF2B5EF4-FFF2-40B4-BE49-F238E27FC236}">
                  <a16:creationId xmlns:a16="http://schemas.microsoft.com/office/drawing/2014/main" id="{F1C280E5-2091-4FFE-985F-8DAFDF793520}"/>
                </a:ext>
              </a:extLst>
            </p:cNvPr>
            <p:cNvSpPr/>
            <p:nvPr/>
          </p:nvSpPr>
          <p:spPr>
            <a:xfrm>
              <a:off x="5153128" y="2416311"/>
              <a:ext cx="407031" cy="492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nvGrpSpPr>
            <p:cNvPr id="68" name="Group 2">
              <a:extLst>
                <a:ext uri="{FF2B5EF4-FFF2-40B4-BE49-F238E27FC236}">
                  <a16:creationId xmlns:a16="http://schemas.microsoft.com/office/drawing/2014/main" id="{212DCA99-5C4C-48B7-8037-F10A677748A7}"/>
                </a:ext>
              </a:extLst>
            </p:cNvPr>
            <p:cNvGrpSpPr/>
            <p:nvPr/>
          </p:nvGrpSpPr>
          <p:grpSpPr>
            <a:xfrm>
              <a:off x="5165431" y="2481349"/>
              <a:ext cx="382945" cy="404451"/>
              <a:chOff x="5537070" y="2899029"/>
              <a:chExt cx="1119378" cy="1182243"/>
            </a:xfrm>
          </p:grpSpPr>
          <p:sp>
            <p:nvSpPr>
              <p:cNvPr id="69" name="Freeform 30">
                <a:extLst>
                  <a:ext uri="{FF2B5EF4-FFF2-40B4-BE49-F238E27FC236}">
                    <a16:creationId xmlns:a16="http://schemas.microsoft.com/office/drawing/2014/main" id="{809875B6-A834-44BB-BD76-91DA9E26F2D2}"/>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1">
                <a:extLst>
                  <a:ext uri="{FF2B5EF4-FFF2-40B4-BE49-F238E27FC236}">
                    <a16:creationId xmlns:a16="http://schemas.microsoft.com/office/drawing/2014/main" id="{BB7FA181-7227-4B87-AB88-9C279600EAE0}"/>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1" name="ee4pFootnotes">
            <a:extLst>
              <a:ext uri="{FF2B5EF4-FFF2-40B4-BE49-F238E27FC236}">
                <a16:creationId xmlns:a16="http://schemas.microsoft.com/office/drawing/2014/main" id="{19AB0F25-ECAE-4B8E-8326-13BF83F0F3CB}"/>
              </a:ext>
            </a:extLst>
          </p:cNvPr>
          <p:cNvSpPr>
            <a:spLocks noChangeArrowheads="1"/>
          </p:cNvSpPr>
          <p:nvPr/>
        </p:nvSpPr>
        <p:spPr bwMode="auto">
          <a:xfrm>
            <a:off x="629398" y="7197799"/>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1) </a:t>
            </a: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パートナー企業とは、</a:t>
            </a:r>
            <a:r>
              <a:rPr lang="en-US" altLang="ja-JP"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CFP</a:t>
            </a: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の算定・表示を支援する企業や取引先等</a:t>
            </a:r>
          </a:p>
        </p:txBody>
      </p:sp>
    </p:spTree>
    <p:extLst>
      <p:ext uri="{BB962C8B-B14F-4D97-AF65-F5344CB8AC3E}">
        <p14:creationId xmlns:p14="http://schemas.microsoft.com/office/powerpoint/2010/main" val="30482852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D56C96-F9A2-4019-B8FF-A9B9BF966D83}"/>
              </a:ext>
            </a:extLst>
          </p:cNvPr>
          <p:cNvGraphicFramePr>
            <a:graphicFrameLocks noChangeAspect="1"/>
          </p:cNvGraphicFramePr>
          <p:nvPr>
            <p:custDataLst>
              <p:tags r:id="rId1"/>
            </p:custDataLst>
            <p:extLst>
              <p:ext uri="{D42A27DB-BD31-4B8C-83A1-F6EECF244321}">
                <p14:modId xmlns:p14="http://schemas.microsoft.com/office/powerpoint/2010/main" val="310751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80D56C96-F9A2-4019-B8FF-A9B9BF966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6BB045-B5C5-4F27-94FB-25B6705F8DCB}"/>
              </a:ext>
            </a:extLst>
          </p:cNvPr>
          <p:cNvSpPr>
            <a:spLocks noGrp="1"/>
          </p:cNvSpPr>
          <p:nvPr>
            <p:ph type="title"/>
          </p:nvPr>
        </p:nvSpPr>
        <p:spPr/>
        <p:txBody>
          <a:bodyPr vert="horz"/>
          <a:lstStyle/>
          <a:p>
            <a:r>
              <a:rPr lang="ja-JP" altLang="en-US" dirty="0"/>
              <a:t>モデル事業で取り組む内容 </a:t>
            </a:r>
            <a:r>
              <a:rPr lang="en-US" altLang="ja-JP" dirty="0"/>
              <a:t>(</a:t>
            </a:r>
            <a:r>
              <a:rPr lang="ja-JP" altLang="en-US" dirty="0"/>
              <a:t>パターン</a:t>
            </a:r>
            <a:r>
              <a:rPr lang="en-US" altLang="ja-JP" dirty="0"/>
              <a:t>A-1, A-2</a:t>
            </a:r>
            <a:r>
              <a:rPr lang="ja-JP" altLang="en-US" dirty="0"/>
              <a:t>の場合</a:t>
            </a:r>
            <a:r>
              <a:rPr lang="en-US" altLang="ja-JP" dirty="0"/>
              <a:t>)</a:t>
            </a:r>
            <a:endParaRPr kumimoji="1" lang="en-US" dirty="0"/>
          </a:p>
        </p:txBody>
      </p:sp>
      <p:sp>
        <p:nvSpPr>
          <p:cNvPr id="3" name="Content Placeholder 2">
            <a:extLst>
              <a:ext uri="{FF2B5EF4-FFF2-40B4-BE49-F238E27FC236}">
                <a16:creationId xmlns:a16="http://schemas.microsoft.com/office/drawing/2014/main" id="{AF547F83-8C92-4682-ACDF-9EC27053691C}"/>
              </a:ext>
            </a:extLst>
          </p:cNvPr>
          <p:cNvSpPr>
            <a:spLocks noGrp="1"/>
          </p:cNvSpPr>
          <p:nvPr>
            <p:ph sz="quarter" idx="13"/>
          </p:nvPr>
        </p:nvSpPr>
        <p:spPr>
          <a:xfrm>
            <a:off x="161925" y="1110920"/>
            <a:ext cx="10367963" cy="942717"/>
          </a:xfrm>
        </p:spPr>
        <p:txBody>
          <a:bodyPr/>
          <a:lstStyle/>
          <a:p>
            <a:r>
              <a:rPr lang="ja-JP" altLang="en-US" dirty="0"/>
              <a:t>参加企業が製品・サービスの</a:t>
            </a:r>
            <a:r>
              <a:rPr lang="en-US" altLang="ja-JP" dirty="0"/>
              <a:t>CFP</a:t>
            </a:r>
            <a:r>
              <a:rPr lang="ja-JP" altLang="en-US" dirty="0"/>
              <a:t>の算定モデルを確立し、消費者に「見える化」すると同時に、</a:t>
            </a:r>
            <a:r>
              <a:rPr lang="en-US" altLang="ja-JP" dirty="0"/>
              <a:t>CFP</a:t>
            </a:r>
            <a:r>
              <a:rPr lang="ja-JP" altLang="en-US" dirty="0"/>
              <a:t>の削減計画を取りまとめる。</a:t>
            </a:r>
          </a:p>
        </p:txBody>
      </p:sp>
      <p:sp>
        <p:nvSpPr>
          <p:cNvPr id="6" name="Rectangle 5">
            <a:extLst>
              <a:ext uri="{FF2B5EF4-FFF2-40B4-BE49-F238E27FC236}">
                <a16:creationId xmlns:a16="http://schemas.microsoft.com/office/drawing/2014/main" id="{627517BA-4E50-435A-90FD-9065B7322E98}"/>
              </a:ext>
            </a:extLst>
          </p:cNvPr>
          <p:cNvSpPr/>
          <p:nvPr/>
        </p:nvSpPr>
        <p:spPr>
          <a:xfrm>
            <a:off x="1431923" y="2418978"/>
            <a:ext cx="9097960" cy="1828558"/>
          </a:xfrm>
          <a:prstGeom prst="rect">
            <a:avLst/>
          </a:prstGeom>
          <a:solidFill>
            <a:schemeClr val="bg1">
              <a:lumMod val="9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1130300" lvl="0"/>
            <a:r>
              <a:rPr lang="ja-JP" altLang="en-US" dirty="0">
                <a:solidFill>
                  <a:schemeClr val="tx1"/>
                </a:solidFill>
                <a:latin typeface="Trebuchet MS" panose="020B0603020202020204" pitchFamily="34" charset="0"/>
                <a:ea typeface="Meiryo UI" panose="020B0604030504040204" pitchFamily="50" charset="-128"/>
              </a:rPr>
              <a:t>自社の製品・サービスの中から、特定のものを選択し、その</a:t>
            </a:r>
            <a:r>
              <a:rPr lang="en-US" altLang="ja-JP" dirty="0">
                <a:solidFill>
                  <a:schemeClr val="tx1"/>
                </a:solidFill>
                <a:latin typeface="Trebuchet MS" panose="020B0603020202020204" pitchFamily="34" charset="0"/>
                <a:ea typeface="Meiryo UI" panose="020B0604030504040204" pitchFamily="50" charset="-128"/>
              </a:rPr>
              <a:t>CFP</a:t>
            </a:r>
            <a:r>
              <a:rPr lang="ja-JP" altLang="en-US" dirty="0">
                <a:solidFill>
                  <a:schemeClr val="tx1"/>
                </a:solidFill>
                <a:latin typeface="Trebuchet MS" panose="020B0603020202020204" pitchFamily="34" charset="0"/>
                <a:ea typeface="Meiryo UI" panose="020B0604030504040204" pitchFamily="50" charset="-128"/>
              </a:rPr>
              <a:t>の算定に取り組む</a:t>
            </a:r>
            <a:endParaRPr lang="en-US" altLang="ja-JP"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算定対象の選択は、消費者の認知度合、ビジネス戦略、算定難易度・データの有無、</a:t>
            </a:r>
            <a:r>
              <a:rPr lang="en-US" altLang="ja-JP" sz="1600" dirty="0">
                <a:solidFill>
                  <a:schemeClr val="tx1"/>
                </a:solidFill>
                <a:latin typeface="Trebuchet MS" panose="020B0603020202020204" pitchFamily="34" charset="0"/>
                <a:ea typeface="Meiryo UI" panose="020B0604030504040204" pitchFamily="50" charset="-128"/>
              </a:rPr>
              <a:t>GHG</a:t>
            </a:r>
            <a:r>
              <a:rPr lang="ja-JP" altLang="en-US" sz="1600" dirty="0">
                <a:solidFill>
                  <a:schemeClr val="tx1"/>
                </a:solidFill>
                <a:latin typeface="Trebuchet MS" panose="020B0603020202020204" pitchFamily="34" charset="0"/>
                <a:ea typeface="Meiryo UI" panose="020B0604030504040204" pitchFamily="50" charset="-128"/>
              </a:rPr>
              <a:t>排出量等を勘案し、モデル企業が決定する</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算定方法は、今後幅広い製品に横展開するために汎用的で合理的なものを検討する</a:t>
            </a:r>
            <a:endParaRPr lang="en-US" altLang="ja-JP" sz="1600" dirty="0">
              <a:solidFill>
                <a:schemeClr val="tx1"/>
              </a:solidFill>
              <a:latin typeface="Trebuchet MS" panose="020B0603020202020204" pitchFamily="34" charset="0"/>
              <a:ea typeface="Meiryo UI" panose="020B0604030504040204" pitchFamily="50" charset="-128"/>
            </a:endParaRPr>
          </a:p>
          <a:p>
            <a:pPr marL="1770063" lvl="2" indent="-1778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厳密な数値の正確さの追求よりも、必要十分な精度のレベルを見極めることで、算定の業務負担を軽減</a:t>
            </a:r>
            <a:endParaRPr lang="en-US" altLang="ja-JP" sz="1600" dirty="0">
              <a:solidFill>
                <a:schemeClr val="tx1"/>
              </a:solidFill>
              <a:latin typeface="Trebuchet MS" panose="020B0603020202020204" pitchFamily="34" charset="0"/>
              <a:ea typeface="Meiryo UI" panose="020B0604030504040204" pitchFamily="50" charset="-128"/>
            </a:endParaRPr>
          </a:p>
          <a:p>
            <a:pPr marL="1770063" lvl="2" indent="-1778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過度の業務負担が生じることなく、算出結果の信頼性を担保する方法を検討</a:t>
            </a:r>
            <a:endParaRPr lang="en-US" altLang="ja-JP" sz="1600" dirty="0">
              <a:solidFill>
                <a:schemeClr val="tx1"/>
              </a:solidFill>
              <a:latin typeface="Trebuchet MS" panose="020B0603020202020204" pitchFamily="34" charset="0"/>
              <a:ea typeface="Meiryo UI" panose="020B0604030504040204" pitchFamily="50" charset="-128"/>
            </a:endParaRPr>
          </a:p>
        </p:txBody>
      </p:sp>
      <p:sp>
        <p:nvSpPr>
          <p:cNvPr id="14" name="ee4pFootnotes">
            <a:extLst>
              <a:ext uri="{FF2B5EF4-FFF2-40B4-BE49-F238E27FC236}">
                <a16:creationId xmlns:a16="http://schemas.microsoft.com/office/drawing/2014/main" id="{CA0843B9-5C4D-41A6-B576-DE7A255DEDF3}"/>
              </a:ext>
            </a:extLst>
          </p:cNvPr>
          <p:cNvSpPr>
            <a:spLocks noChangeArrowheads="1"/>
          </p:cNvSpPr>
          <p:nvPr/>
        </p:nvSpPr>
        <p:spPr bwMode="auto">
          <a:xfrm>
            <a:off x="629398" y="7032544"/>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注</a:t>
            </a:r>
            <a:r>
              <a:rPr 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 </a:t>
            </a: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支援内容は、各社の検討状況や支援ニーズに応じて変更する</a:t>
            </a:r>
            <a:endParaRPr 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endParaRPr>
          </a:p>
        </p:txBody>
      </p:sp>
      <p:sp>
        <p:nvSpPr>
          <p:cNvPr id="15" name="Rectangle 14">
            <a:extLst>
              <a:ext uri="{FF2B5EF4-FFF2-40B4-BE49-F238E27FC236}">
                <a16:creationId xmlns:a16="http://schemas.microsoft.com/office/drawing/2014/main" id="{C5CBC521-29B1-4B6C-BF3A-112AD90254A5}"/>
              </a:ext>
            </a:extLst>
          </p:cNvPr>
          <p:cNvSpPr/>
          <p:nvPr/>
        </p:nvSpPr>
        <p:spPr>
          <a:xfrm>
            <a:off x="6446045" y="5599555"/>
            <a:ext cx="3574256" cy="14956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ltLang="ja-JP" sz="1400" dirty="0">
              <a:solidFill>
                <a:schemeClr val="tx1"/>
              </a:solidFill>
              <a:latin typeface="Trebuchet MS" panose="020B0603020202020204" pitchFamily="34" charset="0"/>
            </a:endParaRPr>
          </a:p>
        </p:txBody>
      </p:sp>
      <p:sp>
        <p:nvSpPr>
          <p:cNvPr id="8" name="Arrow: Pentagon 7">
            <a:extLst>
              <a:ext uri="{FF2B5EF4-FFF2-40B4-BE49-F238E27FC236}">
                <a16:creationId xmlns:a16="http://schemas.microsoft.com/office/drawing/2014/main" id="{FD7D7F3B-DCAD-4A3C-A78A-A4F9EDA42F68}"/>
              </a:ext>
            </a:extLst>
          </p:cNvPr>
          <p:cNvSpPr/>
          <p:nvPr/>
        </p:nvSpPr>
        <p:spPr>
          <a:xfrm rot="5400000">
            <a:off x="-101975" y="2806137"/>
            <a:ext cx="1797797" cy="1028700"/>
          </a:xfrm>
          <a:prstGeom prst="homePlate">
            <a:avLst>
              <a:gd name="adj" fmla="val 16975"/>
            </a:avLst>
          </a:prstGeom>
          <a:solidFill>
            <a:srgbClr val="009C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altLang="ja-JP" sz="1600" dirty="0">
                <a:solidFill>
                  <a:srgbClr val="FFFFFF"/>
                </a:solidFill>
                <a:latin typeface="Trebuchet MS" panose="020B0603020202020204" pitchFamily="34" charset="0"/>
                <a:ea typeface="Meiryo UI" panose="020B0604030504040204" pitchFamily="50" charset="-128"/>
              </a:rPr>
              <a:t>CFP</a:t>
            </a:r>
            <a:r>
              <a:rPr lang="ja-JP" altLang="en-US" sz="1600" dirty="0">
                <a:solidFill>
                  <a:srgbClr val="FFFFFF"/>
                </a:solidFill>
                <a:latin typeface="Trebuchet MS" panose="020B0603020202020204" pitchFamily="34" charset="0"/>
                <a:ea typeface="Meiryo UI" panose="020B0604030504040204" pitchFamily="50" charset="-128"/>
              </a:rPr>
              <a:t>の</a:t>
            </a:r>
            <a:br>
              <a:rPr lang="en-US" altLang="ja-JP" sz="1600" dirty="0">
                <a:solidFill>
                  <a:srgbClr val="FFFFFF"/>
                </a:solidFill>
                <a:latin typeface="Trebuchet MS" panose="020B0603020202020204" pitchFamily="34" charset="0"/>
                <a:ea typeface="Meiryo UI" panose="020B0604030504040204" pitchFamily="50" charset="-128"/>
              </a:rPr>
            </a:br>
            <a:r>
              <a:rPr lang="ja-JP" altLang="en-US" sz="1600" dirty="0">
                <a:solidFill>
                  <a:srgbClr val="FFFFFF"/>
                </a:solidFill>
                <a:latin typeface="Trebuchet MS" panose="020B0603020202020204" pitchFamily="34" charset="0"/>
                <a:ea typeface="Meiryo UI" panose="020B0604030504040204" pitchFamily="50" charset="-128"/>
              </a:rPr>
              <a:t>算定</a:t>
            </a:r>
            <a:endParaRPr kumimoji="1" lang="en-US" sz="1600" dirty="0">
              <a:solidFill>
                <a:srgbClr val="FFFFFF"/>
              </a:solidFill>
              <a:latin typeface="Trebuchet MS" panose="020B0603020202020204" pitchFamily="34" charset="0"/>
              <a:ea typeface="Meiryo UI" panose="020B0604030504040204" pitchFamily="50" charset="-128"/>
            </a:endParaRPr>
          </a:p>
        </p:txBody>
      </p:sp>
      <p:sp>
        <p:nvSpPr>
          <p:cNvPr id="9" name="Oval 8">
            <a:extLst>
              <a:ext uri="{FF2B5EF4-FFF2-40B4-BE49-F238E27FC236}">
                <a16:creationId xmlns:a16="http://schemas.microsoft.com/office/drawing/2014/main" id="{91E4655C-D305-4A1A-AB0A-B83CDAE5DF8E}"/>
              </a:ext>
            </a:extLst>
          </p:cNvPr>
          <p:cNvSpPr/>
          <p:nvPr/>
        </p:nvSpPr>
        <p:spPr>
          <a:xfrm>
            <a:off x="161925" y="2284578"/>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1</a:t>
            </a:r>
          </a:p>
        </p:txBody>
      </p:sp>
      <p:sp>
        <p:nvSpPr>
          <p:cNvPr id="17" name="Rectangle 16">
            <a:extLst>
              <a:ext uri="{FF2B5EF4-FFF2-40B4-BE49-F238E27FC236}">
                <a16:creationId xmlns:a16="http://schemas.microsoft.com/office/drawing/2014/main" id="{101A6175-7A31-44C9-ACD6-3BB218590F9B}"/>
              </a:ext>
            </a:extLst>
          </p:cNvPr>
          <p:cNvSpPr/>
          <p:nvPr/>
        </p:nvSpPr>
        <p:spPr>
          <a:xfrm>
            <a:off x="1431923" y="5779004"/>
            <a:ext cx="9097960" cy="1177655"/>
          </a:xfrm>
          <a:prstGeom prst="rect">
            <a:avLst/>
          </a:prstGeom>
          <a:solidFill>
            <a:schemeClr val="bg1">
              <a:lumMod val="9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130300"/>
            <a:r>
              <a:rPr lang="ja-JP" altLang="en-US" dirty="0">
                <a:solidFill>
                  <a:schemeClr val="tx1"/>
                </a:solidFill>
                <a:latin typeface="Trebuchet MS" panose="020B0603020202020204" pitchFamily="34" charset="0"/>
                <a:ea typeface="Meiryo UI" panose="020B0604030504040204" pitchFamily="50" charset="-128"/>
              </a:rPr>
              <a:t>当該製品の排出量や、削減目標・削減対策を消費者を伝える方策を検討する。モデル企業の希望に応じて、マーケティングやブランディングでの活用についても対象とする</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例</a:t>
            </a:r>
            <a:r>
              <a:rPr lang="en-US" altLang="ja-JP" sz="1600" dirty="0">
                <a:solidFill>
                  <a:schemeClr val="tx1"/>
                </a:solidFill>
                <a:latin typeface="Trebuchet MS" panose="020B0603020202020204" pitchFamily="34" charset="0"/>
                <a:ea typeface="Meiryo UI" panose="020B0604030504040204" pitchFamily="50" charset="-128"/>
              </a:rPr>
              <a:t>) </a:t>
            </a:r>
            <a:r>
              <a:rPr lang="ja-JP" altLang="en-US" sz="1600" dirty="0">
                <a:solidFill>
                  <a:schemeClr val="tx1"/>
                </a:solidFill>
                <a:latin typeface="Trebuchet MS" panose="020B0603020202020204" pitchFamily="34" charset="0"/>
                <a:ea typeface="Meiryo UI" panose="020B0604030504040204" pitchFamily="50" charset="-128"/>
              </a:rPr>
              <a:t>製品においてラベルとして表示することを検討する</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例</a:t>
            </a:r>
            <a:r>
              <a:rPr lang="en-US" altLang="ja-JP" sz="1600" dirty="0">
                <a:solidFill>
                  <a:schemeClr val="tx1"/>
                </a:solidFill>
                <a:latin typeface="Trebuchet MS" panose="020B0603020202020204" pitchFamily="34" charset="0"/>
                <a:ea typeface="Meiryo UI" panose="020B0604030504040204" pitchFamily="50" charset="-128"/>
              </a:rPr>
              <a:t>) </a:t>
            </a:r>
            <a:r>
              <a:rPr lang="ja-JP" altLang="en-US" sz="1600" dirty="0">
                <a:solidFill>
                  <a:schemeClr val="tx1"/>
                </a:solidFill>
                <a:latin typeface="Trebuchet MS" panose="020B0603020202020204" pitchFamily="34" charset="0"/>
                <a:ea typeface="Meiryo UI" panose="020B0604030504040204" pitchFamily="50" charset="-128"/>
              </a:rPr>
              <a:t>マーケティングやブランディングでの</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活用方法を検討する</a:t>
            </a:r>
            <a:endParaRPr lang="en-US" altLang="ja-JP" sz="1600" dirty="0">
              <a:solidFill>
                <a:schemeClr val="tx1"/>
              </a:solidFill>
              <a:latin typeface="Trebuchet MS" panose="020B0603020202020204" pitchFamily="34" charset="0"/>
              <a:ea typeface="Meiryo UI" panose="020B0604030504040204" pitchFamily="50" charset="-128"/>
            </a:endParaRPr>
          </a:p>
        </p:txBody>
      </p:sp>
      <p:sp>
        <p:nvSpPr>
          <p:cNvPr id="19" name="Arrow: Pentagon 18">
            <a:extLst>
              <a:ext uri="{FF2B5EF4-FFF2-40B4-BE49-F238E27FC236}">
                <a16:creationId xmlns:a16="http://schemas.microsoft.com/office/drawing/2014/main" id="{E63B5752-929D-41AC-B8C3-21E7A8320FEA}"/>
              </a:ext>
            </a:extLst>
          </p:cNvPr>
          <p:cNvSpPr/>
          <p:nvPr/>
        </p:nvSpPr>
        <p:spPr>
          <a:xfrm rot="5400000">
            <a:off x="185782" y="5885421"/>
            <a:ext cx="1222283" cy="1028700"/>
          </a:xfrm>
          <a:prstGeom prst="homePlate">
            <a:avLst>
              <a:gd name="adj" fmla="val 16975"/>
            </a:avLst>
          </a:prstGeom>
          <a:solidFill>
            <a:srgbClr val="009C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ja-JP" altLang="en-US" sz="1600" dirty="0">
                <a:solidFill>
                  <a:srgbClr val="FFFFFF"/>
                </a:solidFill>
                <a:latin typeface="Trebuchet MS" panose="020B0603020202020204" pitchFamily="34" charset="0"/>
                <a:ea typeface="Meiryo UI" panose="020B0604030504040204" pitchFamily="50" charset="-128"/>
              </a:rPr>
              <a:t>消費者への表示</a:t>
            </a:r>
            <a:br>
              <a:rPr lang="en-US" altLang="ja-JP" sz="1600" dirty="0">
                <a:solidFill>
                  <a:srgbClr val="FFFFFF"/>
                </a:solidFill>
                <a:latin typeface="Trebuchet MS" panose="020B0603020202020204" pitchFamily="34" charset="0"/>
                <a:ea typeface="Meiryo UI" panose="020B0604030504040204" pitchFamily="50" charset="-128"/>
              </a:rPr>
            </a:br>
            <a:r>
              <a:rPr lang="en-US" altLang="ja-JP" sz="1600" dirty="0">
                <a:solidFill>
                  <a:srgbClr val="FFFFFF"/>
                </a:solidFill>
                <a:latin typeface="Trebuchet MS" panose="020B0603020202020204" pitchFamily="34" charset="0"/>
                <a:ea typeface="Meiryo UI" panose="020B0604030504040204" pitchFamily="50" charset="-128"/>
              </a:rPr>
              <a:t>(</a:t>
            </a:r>
            <a:r>
              <a:rPr lang="ja-JP" altLang="en-US" sz="1600" dirty="0">
                <a:solidFill>
                  <a:srgbClr val="FFFFFF"/>
                </a:solidFill>
                <a:latin typeface="Trebuchet MS" panose="020B0603020202020204" pitchFamily="34" charset="0"/>
                <a:ea typeface="Meiryo UI" panose="020B0604030504040204" pitchFamily="50" charset="-128"/>
              </a:rPr>
              <a:t>見える化</a:t>
            </a:r>
            <a:r>
              <a:rPr lang="en-US" altLang="ja-JP" sz="1600" dirty="0">
                <a:solidFill>
                  <a:srgbClr val="FFFFFF"/>
                </a:solidFill>
                <a:latin typeface="Trebuchet MS" panose="020B0603020202020204" pitchFamily="34" charset="0"/>
                <a:ea typeface="Meiryo UI" panose="020B0604030504040204" pitchFamily="50" charset="-128"/>
              </a:rPr>
              <a:t>)</a:t>
            </a:r>
          </a:p>
        </p:txBody>
      </p:sp>
      <p:sp>
        <p:nvSpPr>
          <p:cNvPr id="20" name="Oval 19">
            <a:extLst>
              <a:ext uri="{FF2B5EF4-FFF2-40B4-BE49-F238E27FC236}">
                <a16:creationId xmlns:a16="http://schemas.microsoft.com/office/drawing/2014/main" id="{AD3242D5-3F37-4ED4-B01B-31C5BD930C6C}"/>
              </a:ext>
            </a:extLst>
          </p:cNvPr>
          <p:cNvSpPr/>
          <p:nvPr/>
        </p:nvSpPr>
        <p:spPr>
          <a:xfrm>
            <a:off x="161925" y="5749628"/>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dirty="0">
                <a:latin typeface="Trebuchet MS" panose="020B0603020202020204" pitchFamily="34" charset="0"/>
                <a:ea typeface="Meiryo UI" panose="020B0604030504040204" pitchFamily="50" charset="-128"/>
              </a:rPr>
              <a:t>3</a:t>
            </a:r>
          </a:p>
        </p:txBody>
      </p:sp>
      <p:sp>
        <p:nvSpPr>
          <p:cNvPr id="25" name="Rectangle 24">
            <a:extLst>
              <a:ext uri="{FF2B5EF4-FFF2-40B4-BE49-F238E27FC236}">
                <a16:creationId xmlns:a16="http://schemas.microsoft.com/office/drawing/2014/main" id="{03BADE98-8A7D-432F-92CC-8FFC7D6A084D}"/>
              </a:ext>
            </a:extLst>
          </p:cNvPr>
          <p:cNvSpPr/>
          <p:nvPr/>
        </p:nvSpPr>
        <p:spPr>
          <a:xfrm>
            <a:off x="1442936" y="4359591"/>
            <a:ext cx="9097960" cy="1260295"/>
          </a:xfrm>
          <a:prstGeom prst="rect">
            <a:avLst/>
          </a:prstGeom>
          <a:solidFill>
            <a:schemeClr val="bg1">
              <a:lumMod val="9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1130300" lvl="0"/>
            <a:r>
              <a:rPr lang="ja-JP" altLang="en-US" dirty="0">
                <a:solidFill>
                  <a:schemeClr val="tx1"/>
                </a:solidFill>
                <a:latin typeface="Trebuchet MS" panose="020B0603020202020204" pitchFamily="34" charset="0"/>
                <a:ea typeface="Meiryo UI" panose="020B0604030504040204" pitchFamily="50" charset="-128"/>
              </a:rPr>
              <a:t>上記の算定した製品・サービスについて、排出削減目標と削減対策を検討する</a:t>
            </a: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排出削減目標は、可能な限り野心的なもの（例：カーボンニュートラル）を目指す</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削減対策は、</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算定を通じて明らかになった排出量が多いポイントを踏まえ、重要な排出源に対する対策を特に検討する</a:t>
            </a:r>
            <a:endParaRPr lang="en-US" altLang="ja-JP" sz="1600" dirty="0">
              <a:solidFill>
                <a:schemeClr val="tx1"/>
              </a:solidFill>
              <a:latin typeface="Trebuchet MS" panose="020B0603020202020204" pitchFamily="34" charset="0"/>
              <a:ea typeface="Meiryo UI" panose="020B0604030504040204" pitchFamily="50" charset="-128"/>
            </a:endParaRPr>
          </a:p>
        </p:txBody>
      </p:sp>
      <p:sp>
        <p:nvSpPr>
          <p:cNvPr id="24" name="Arrow: Pentagon 23">
            <a:extLst>
              <a:ext uri="{FF2B5EF4-FFF2-40B4-BE49-F238E27FC236}">
                <a16:creationId xmlns:a16="http://schemas.microsoft.com/office/drawing/2014/main" id="{5C185972-E16C-4AA9-BED6-3AB65B92C705}"/>
              </a:ext>
            </a:extLst>
          </p:cNvPr>
          <p:cNvSpPr/>
          <p:nvPr/>
        </p:nvSpPr>
        <p:spPr>
          <a:xfrm rot="5400000">
            <a:off x="177788" y="4475391"/>
            <a:ext cx="1260297" cy="1028700"/>
          </a:xfrm>
          <a:prstGeom prst="homePlate">
            <a:avLst>
              <a:gd name="adj" fmla="val 16975"/>
            </a:avLst>
          </a:prstGeom>
          <a:solidFill>
            <a:srgbClr val="009C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600" dirty="0">
                <a:solidFill>
                  <a:srgbClr val="FFFFFF"/>
                </a:solidFill>
                <a:latin typeface="Trebuchet MS" panose="020B0603020202020204" pitchFamily="34" charset="0"/>
                <a:ea typeface="Meiryo UI" panose="020B0604030504040204" pitchFamily="50" charset="-128"/>
              </a:rPr>
              <a:t>削減目標、削減対策の検討</a:t>
            </a:r>
            <a:endParaRPr lang="en-US" altLang="ja-JP" sz="1600" dirty="0">
              <a:solidFill>
                <a:srgbClr val="FFFFFF"/>
              </a:solidFill>
              <a:latin typeface="Trebuchet MS" panose="020B0603020202020204" pitchFamily="34" charset="0"/>
              <a:ea typeface="Meiryo UI" panose="020B0604030504040204" pitchFamily="50" charset="-128"/>
            </a:endParaRPr>
          </a:p>
        </p:txBody>
      </p:sp>
      <p:sp>
        <p:nvSpPr>
          <p:cNvPr id="44" name="Oval 43">
            <a:extLst>
              <a:ext uri="{FF2B5EF4-FFF2-40B4-BE49-F238E27FC236}">
                <a16:creationId xmlns:a16="http://schemas.microsoft.com/office/drawing/2014/main" id="{E9C18E28-2242-4501-8A5F-04A57385EEEC}"/>
              </a:ext>
            </a:extLst>
          </p:cNvPr>
          <p:cNvSpPr/>
          <p:nvPr/>
        </p:nvSpPr>
        <p:spPr>
          <a:xfrm>
            <a:off x="172938" y="4229292"/>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2</a:t>
            </a:r>
          </a:p>
        </p:txBody>
      </p:sp>
      <p:grpSp>
        <p:nvGrpSpPr>
          <p:cNvPr id="34" name="Group 2">
            <a:extLst>
              <a:ext uri="{FF2B5EF4-FFF2-40B4-BE49-F238E27FC236}">
                <a16:creationId xmlns:a16="http://schemas.microsoft.com/office/drawing/2014/main" id="{2F080F80-A9B4-487F-ADD2-6816FDA3685C}"/>
              </a:ext>
            </a:extLst>
          </p:cNvPr>
          <p:cNvGrpSpPr>
            <a:grpSpLocks noChangeAspect="1"/>
          </p:cNvGrpSpPr>
          <p:nvPr/>
        </p:nvGrpSpPr>
        <p:grpSpPr>
          <a:xfrm>
            <a:off x="1514711" y="2514809"/>
            <a:ext cx="997922" cy="997922"/>
            <a:chOff x="5273675" y="2606675"/>
            <a:chExt cx="1644650" cy="1644650"/>
          </a:xfrm>
        </p:grpSpPr>
        <p:sp>
          <p:nvSpPr>
            <p:cNvPr id="35" name="AutoShape 9">
              <a:extLst>
                <a:ext uri="{FF2B5EF4-FFF2-40B4-BE49-F238E27FC236}">
                  <a16:creationId xmlns:a16="http://schemas.microsoft.com/office/drawing/2014/main" id="{2B3A736E-4175-429F-A33A-FD9B8F554CA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 name="Group 4">
              <a:extLst>
                <a:ext uri="{FF2B5EF4-FFF2-40B4-BE49-F238E27FC236}">
                  <a16:creationId xmlns:a16="http://schemas.microsoft.com/office/drawing/2014/main" id="{655D8D53-80E9-4B1F-ACE0-25350ABBDCF4}"/>
                </a:ext>
              </a:extLst>
            </p:cNvPr>
            <p:cNvGrpSpPr/>
            <p:nvPr/>
          </p:nvGrpSpPr>
          <p:grpSpPr>
            <a:xfrm>
              <a:off x="5449888" y="2982913"/>
              <a:ext cx="1292225" cy="892175"/>
              <a:chOff x="5449888" y="2982913"/>
              <a:chExt cx="1292225" cy="892175"/>
            </a:xfrm>
          </p:grpSpPr>
          <p:sp>
            <p:nvSpPr>
              <p:cNvPr id="37" name="Freeform 5">
                <a:extLst>
                  <a:ext uri="{FF2B5EF4-FFF2-40B4-BE49-F238E27FC236}">
                    <a16:creationId xmlns:a16="http://schemas.microsoft.com/office/drawing/2014/main" id="{58270AEA-D6AD-4EF8-8FA3-1BD0368B5B32}"/>
                  </a:ext>
                </a:extLst>
              </p:cNvPr>
              <p:cNvSpPr>
                <a:spLocks/>
              </p:cNvSpPr>
              <p:nvPr/>
            </p:nvSpPr>
            <p:spPr bwMode="auto">
              <a:xfrm>
                <a:off x="5449888" y="2982913"/>
                <a:ext cx="1292225" cy="892175"/>
              </a:xfrm>
              <a:custGeom>
                <a:avLst/>
                <a:gdLst>
                  <a:gd name="connsiteX0" fmla="*/ 479562 w 1292225"/>
                  <a:gd name="connsiteY0" fmla="*/ 30162 h 892175"/>
                  <a:gd name="connsiteX1" fmla="*/ 209494 w 1292225"/>
                  <a:gd name="connsiteY1" fmla="*/ 297440 h 892175"/>
                  <a:gd name="connsiteX2" fmla="*/ 89463 w 1292225"/>
                  <a:gd name="connsiteY2" fmla="*/ 371049 h 892175"/>
                  <a:gd name="connsiteX3" fmla="*/ 30162 w 1292225"/>
                  <a:gd name="connsiteY3" fmla="*/ 528986 h 892175"/>
                  <a:gd name="connsiteX4" fmla="*/ 30162 w 1292225"/>
                  <a:gd name="connsiteY4" fmla="*/ 540421 h 892175"/>
                  <a:gd name="connsiteX5" fmla="*/ 30877 w 1292225"/>
                  <a:gd name="connsiteY5" fmla="*/ 543279 h 892175"/>
                  <a:gd name="connsiteX6" fmla="*/ 30877 w 1292225"/>
                  <a:gd name="connsiteY6" fmla="*/ 543994 h 892175"/>
                  <a:gd name="connsiteX7" fmla="*/ 30877 w 1292225"/>
                  <a:gd name="connsiteY7" fmla="*/ 551855 h 892175"/>
                  <a:gd name="connsiteX8" fmla="*/ 31591 w 1292225"/>
                  <a:gd name="connsiteY8" fmla="*/ 555428 h 892175"/>
                  <a:gd name="connsiteX9" fmla="*/ 32306 w 1292225"/>
                  <a:gd name="connsiteY9" fmla="*/ 563289 h 892175"/>
                  <a:gd name="connsiteX10" fmla="*/ 33020 w 1292225"/>
                  <a:gd name="connsiteY10" fmla="*/ 564004 h 892175"/>
                  <a:gd name="connsiteX11" fmla="*/ 33020 w 1292225"/>
                  <a:gd name="connsiteY11" fmla="*/ 566863 h 892175"/>
                  <a:gd name="connsiteX12" fmla="*/ 34449 w 1292225"/>
                  <a:gd name="connsiteY12" fmla="*/ 575438 h 892175"/>
                  <a:gd name="connsiteX13" fmla="*/ 35164 w 1292225"/>
                  <a:gd name="connsiteY13" fmla="*/ 577582 h 892175"/>
                  <a:gd name="connsiteX14" fmla="*/ 37307 w 1292225"/>
                  <a:gd name="connsiteY14" fmla="*/ 588302 h 892175"/>
                  <a:gd name="connsiteX15" fmla="*/ 38021 w 1292225"/>
                  <a:gd name="connsiteY15" fmla="*/ 590446 h 892175"/>
                  <a:gd name="connsiteX16" fmla="*/ 38736 w 1292225"/>
                  <a:gd name="connsiteY16" fmla="*/ 591161 h 892175"/>
                  <a:gd name="connsiteX17" fmla="*/ 40879 w 1292225"/>
                  <a:gd name="connsiteY17" fmla="*/ 599022 h 892175"/>
                  <a:gd name="connsiteX18" fmla="*/ 41594 w 1292225"/>
                  <a:gd name="connsiteY18" fmla="*/ 602595 h 892175"/>
                  <a:gd name="connsiteX19" fmla="*/ 44452 w 1292225"/>
                  <a:gd name="connsiteY19" fmla="*/ 609741 h 892175"/>
                  <a:gd name="connsiteX20" fmla="*/ 44452 w 1292225"/>
                  <a:gd name="connsiteY20" fmla="*/ 610456 h 892175"/>
                  <a:gd name="connsiteX21" fmla="*/ 45166 w 1292225"/>
                  <a:gd name="connsiteY21" fmla="*/ 613315 h 892175"/>
                  <a:gd name="connsiteX22" fmla="*/ 48024 w 1292225"/>
                  <a:gd name="connsiteY22" fmla="*/ 620461 h 892175"/>
                  <a:gd name="connsiteX23" fmla="*/ 48738 w 1292225"/>
                  <a:gd name="connsiteY23" fmla="*/ 621176 h 892175"/>
                  <a:gd name="connsiteX24" fmla="*/ 49453 w 1292225"/>
                  <a:gd name="connsiteY24" fmla="*/ 623320 h 892175"/>
                  <a:gd name="connsiteX25" fmla="*/ 53740 w 1292225"/>
                  <a:gd name="connsiteY25" fmla="*/ 633325 h 892175"/>
                  <a:gd name="connsiteX26" fmla="*/ 55169 w 1292225"/>
                  <a:gd name="connsiteY26" fmla="*/ 634754 h 892175"/>
                  <a:gd name="connsiteX27" fmla="*/ 58741 w 1292225"/>
                  <a:gd name="connsiteY27" fmla="*/ 642615 h 892175"/>
                  <a:gd name="connsiteX28" fmla="*/ 60170 w 1292225"/>
                  <a:gd name="connsiteY28" fmla="*/ 645474 h 892175"/>
                  <a:gd name="connsiteX29" fmla="*/ 60884 w 1292225"/>
                  <a:gd name="connsiteY29" fmla="*/ 645474 h 892175"/>
                  <a:gd name="connsiteX30" fmla="*/ 64457 w 1292225"/>
                  <a:gd name="connsiteY30" fmla="*/ 651906 h 892175"/>
                  <a:gd name="connsiteX31" fmla="*/ 66600 w 1292225"/>
                  <a:gd name="connsiteY31" fmla="*/ 655479 h 892175"/>
                  <a:gd name="connsiteX32" fmla="*/ 70172 w 1292225"/>
                  <a:gd name="connsiteY32" fmla="*/ 661196 h 892175"/>
                  <a:gd name="connsiteX33" fmla="*/ 70887 w 1292225"/>
                  <a:gd name="connsiteY33" fmla="*/ 661911 h 892175"/>
                  <a:gd name="connsiteX34" fmla="*/ 72316 w 1292225"/>
                  <a:gd name="connsiteY34" fmla="*/ 664055 h 892175"/>
                  <a:gd name="connsiteX35" fmla="*/ 78032 w 1292225"/>
                  <a:gd name="connsiteY35" fmla="*/ 672630 h 892175"/>
                  <a:gd name="connsiteX36" fmla="*/ 78746 w 1292225"/>
                  <a:gd name="connsiteY36" fmla="*/ 673345 h 892175"/>
                  <a:gd name="connsiteX37" fmla="*/ 85176 w 1292225"/>
                  <a:gd name="connsiteY37" fmla="*/ 681206 h 892175"/>
                  <a:gd name="connsiteX38" fmla="*/ 86605 w 1292225"/>
                  <a:gd name="connsiteY38" fmla="*/ 683350 h 892175"/>
                  <a:gd name="connsiteX39" fmla="*/ 87320 w 1292225"/>
                  <a:gd name="connsiteY39" fmla="*/ 684065 h 892175"/>
                  <a:gd name="connsiteX40" fmla="*/ 91606 w 1292225"/>
                  <a:gd name="connsiteY40" fmla="*/ 689067 h 892175"/>
                  <a:gd name="connsiteX41" fmla="*/ 94464 w 1292225"/>
                  <a:gd name="connsiteY41" fmla="*/ 691926 h 892175"/>
                  <a:gd name="connsiteX42" fmla="*/ 99466 w 1292225"/>
                  <a:gd name="connsiteY42" fmla="*/ 697643 h 892175"/>
                  <a:gd name="connsiteX43" fmla="*/ 100180 w 1292225"/>
                  <a:gd name="connsiteY43" fmla="*/ 697643 h 892175"/>
                  <a:gd name="connsiteX44" fmla="*/ 102323 w 1292225"/>
                  <a:gd name="connsiteY44" fmla="*/ 699787 h 892175"/>
                  <a:gd name="connsiteX45" fmla="*/ 108039 w 1292225"/>
                  <a:gd name="connsiteY45" fmla="*/ 705504 h 892175"/>
                  <a:gd name="connsiteX46" fmla="*/ 108754 w 1292225"/>
                  <a:gd name="connsiteY46" fmla="*/ 706219 h 892175"/>
                  <a:gd name="connsiteX47" fmla="*/ 109468 w 1292225"/>
                  <a:gd name="connsiteY47" fmla="*/ 706934 h 892175"/>
                  <a:gd name="connsiteX48" fmla="*/ 118042 w 1292225"/>
                  <a:gd name="connsiteY48" fmla="*/ 714080 h 892175"/>
                  <a:gd name="connsiteX49" fmla="*/ 119471 w 1292225"/>
                  <a:gd name="connsiteY49" fmla="*/ 715509 h 892175"/>
                  <a:gd name="connsiteX50" fmla="*/ 120185 w 1292225"/>
                  <a:gd name="connsiteY50" fmla="*/ 716224 h 892175"/>
                  <a:gd name="connsiteX51" fmla="*/ 125901 w 1292225"/>
                  <a:gd name="connsiteY51" fmla="*/ 720512 h 892175"/>
                  <a:gd name="connsiteX52" fmla="*/ 128759 w 1292225"/>
                  <a:gd name="connsiteY52" fmla="*/ 722656 h 892175"/>
                  <a:gd name="connsiteX53" fmla="*/ 129473 w 1292225"/>
                  <a:gd name="connsiteY53" fmla="*/ 723370 h 892175"/>
                  <a:gd name="connsiteX54" fmla="*/ 135189 w 1292225"/>
                  <a:gd name="connsiteY54" fmla="*/ 726944 h 892175"/>
                  <a:gd name="connsiteX55" fmla="*/ 135189 w 1292225"/>
                  <a:gd name="connsiteY55" fmla="*/ 727658 h 892175"/>
                  <a:gd name="connsiteX56" fmla="*/ 138047 w 1292225"/>
                  <a:gd name="connsiteY56" fmla="*/ 729088 h 892175"/>
                  <a:gd name="connsiteX57" fmla="*/ 144477 w 1292225"/>
                  <a:gd name="connsiteY57" fmla="*/ 733376 h 892175"/>
                  <a:gd name="connsiteX58" fmla="*/ 145192 w 1292225"/>
                  <a:gd name="connsiteY58" fmla="*/ 733376 h 892175"/>
                  <a:gd name="connsiteX59" fmla="*/ 147335 w 1292225"/>
                  <a:gd name="connsiteY59" fmla="*/ 734805 h 892175"/>
                  <a:gd name="connsiteX60" fmla="*/ 156623 w 1292225"/>
                  <a:gd name="connsiteY60" fmla="*/ 739807 h 892175"/>
                  <a:gd name="connsiteX61" fmla="*/ 158766 w 1292225"/>
                  <a:gd name="connsiteY61" fmla="*/ 741237 h 892175"/>
                  <a:gd name="connsiteX62" fmla="*/ 165911 w 1292225"/>
                  <a:gd name="connsiteY62" fmla="*/ 744810 h 892175"/>
                  <a:gd name="connsiteX63" fmla="*/ 168769 w 1292225"/>
                  <a:gd name="connsiteY63" fmla="*/ 746239 h 892175"/>
                  <a:gd name="connsiteX64" fmla="*/ 169483 w 1292225"/>
                  <a:gd name="connsiteY64" fmla="*/ 746954 h 892175"/>
                  <a:gd name="connsiteX65" fmla="*/ 175914 w 1292225"/>
                  <a:gd name="connsiteY65" fmla="*/ 749812 h 892175"/>
                  <a:gd name="connsiteX66" fmla="*/ 180200 w 1292225"/>
                  <a:gd name="connsiteY66" fmla="*/ 751242 h 892175"/>
                  <a:gd name="connsiteX67" fmla="*/ 186631 w 1292225"/>
                  <a:gd name="connsiteY67" fmla="*/ 754100 h 892175"/>
                  <a:gd name="connsiteX68" fmla="*/ 187345 w 1292225"/>
                  <a:gd name="connsiteY68" fmla="*/ 754100 h 892175"/>
                  <a:gd name="connsiteX69" fmla="*/ 189488 w 1292225"/>
                  <a:gd name="connsiteY69" fmla="*/ 754815 h 892175"/>
                  <a:gd name="connsiteX70" fmla="*/ 191632 w 1292225"/>
                  <a:gd name="connsiteY70" fmla="*/ 757674 h 892175"/>
                  <a:gd name="connsiteX71" fmla="*/ 198062 w 1292225"/>
                  <a:gd name="connsiteY71" fmla="*/ 765535 h 892175"/>
                  <a:gd name="connsiteX72" fmla="*/ 199491 w 1292225"/>
                  <a:gd name="connsiteY72" fmla="*/ 767679 h 892175"/>
                  <a:gd name="connsiteX73" fmla="*/ 200206 w 1292225"/>
                  <a:gd name="connsiteY73" fmla="*/ 768393 h 892175"/>
                  <a:gd name="connsiteX74" fmla="*/ 205921 w 1292225"/>
                  <a:gd name="connsiteY74" fmla="*/ 774825 h 892175"/>
                  <a:gd name="connsiteX75" fmla="*/ 207350 w 1292225"/>
                  <a:gd name="connsiteY75" fmla="*/ 776969 h 892175"/>
                  <a:gd name="connsiteX76" fmla="*/ 214495 w 1292225"/>
                  <a:gd name="connsiteY76" fmla="*/ 784116 h 892175"/>
                  <a:gd name="connsiteX77" fmla="*/ 217353 w 1292225"/>
                  <a:gd name="connsiteY77" fmla="*/ 786974 h 892175"/>
                  <a:gd name="connsiteX78" fmla="*/ 224497 w 1292225"/>
                  <a:gd name="connsiteY78" fmla="*/ 793406 h 892175"/>
                  <a:gd name="connsiteX79" fmla="*/ 225926 w 1292225"/>
                  <a:gd name="connsiteY79" fmla="*/ 795550 h 892175"/>
                  <a:gd name="connsiteX80" fmla="*/ 233071 w 1292225"/>
                  <a:gd name="connsiteY80" fmla="*/ 801267 h 892175"/>
                  <a:gd name="connsiteX81" fmla="*/ 235214 w 1292225"/>
                  <a:gd name="connsiteY81" fmla="*/ 803411 h 892175"/>
                  <a:gd name="connsiteX82" fmla="*/ 243788 w 1292225"/>
                  <a:gd name="connsiteY82" fmla="*/ 809128 h 892175"/>
                  <a:gd name="connsiteX83" fmla="*/ 245217 w 1292225"/>
                  <a:gd name="connsiteY83" fmla="*/ 810558 h 892175"/>
                  <a:gd name="connsiteX84" fmla="*/ 245931 w 1292225"/>
                  <a:gd name="connsiteY84" fmla="*/ 811272 h 892175"/>
                  <a:gd name="connsiteX85" fmla="*/ 253076 w 1292225"/>
                  <a:gd name="connsiteY85" fmla="*/ 816275 h 892175"/>
                  <a:gd name="connsiteX86" fmla="*/ 255219 w 1292225"/>
                  <a:gd name="connsiteY86" fmla="*/ 817704 h 892175"/>
                  <a:gd name="connsiteX87" fmla="*/ 263793 w 1292225"/>
                  <a:gd name="connsiteY87" fmla="*/ 823421 h 892175"/>
                  <a:gd name="connsiteX88" fmla="*/ 266651 w 1292225"/>
                  <a:gd name="connsiteY88" fmla="*/ 824850 h 892175"/>
                  <a:gd name="connsiteX89" fmla="*/ 275939 w 1292225"/>
                  <a:gd name="connsiteY89" fmla="*/ 830568 h 892175"/>
                  <a:gd name="connsiteX90" fmla="*/ 277368 w 1292225"/>
                  <a:gd name="connsiteY90" fmla="*/ 831282 h 892175"/>
                  <a:gd name="connsiteX91" fmla="*/ 285942 w 1292225"/>
                  <a:gd name="connsiteY91" fmla="*/ 835570 h 892175"/>
                  <a:gd name="connsiteX92" fmla="*/ 288799 w 1292225"/>
                  <a:gd name="connsiteY92" fmla="*/ 836999 h 892175"/>
                  <a:gd name="connsiteX93" fmla="*/ 298802 w 1292225"/>
                  <a:gd name="connsiteY93" fmla="*/ 841287 h 892175"/>
                  <a:gd name="connsiteX94" fmla="*/ 300945 w 1292225"/>
                  <a:gd name="connsiteY94" fmla="*/ 842002 h 892175"/>
                  <a:gd name="connsiteX95" fmla="*/ 309519 w 1292225"/>
                  <a:gd name="connsiteY95" fmla="*/ 845575 h 892175"/>
                  <a:gd name="connsiteX96" fmla="*/ 311662 w 1292225"/>
                  <a:gd name="connsiteY96" fmla="*/ 846290 h 892175"/>
                  <a:gd name="connsiteX97" fmla="*/ 322379 w 1292225"/>
                  <a:gd name="connsiteY97" fmla="*/ 849863 h 892175"/>
                  <a:gd name="connsiteX98" fmla="*/ 324523 w 1292225"/>
                  <a:gd name="connsiteY98" fmla="*/ 850578 h 892175"/>
                  <a:gd name="connsiteX99" fmla="*/ 335240 w 1292225"/>
                  <a:gd name="connsiteY99" fmla="*/ 854151 h 892175"/>
                  <a:gd name="connsiteX100" fmla="*/ 336669 w 1292225"/>
                  <a:gd name="connsiteY100" fmla="*/ 854151 h 892175"/>
                  <a:gd name="connsiteX101" fmla="*/ 347386 w 1292225"/>
                  <a:gd name="connsiteY101" fmla="*/ 857010 h 892175"/>
                  <a:gd name="connsiteX102" fmla="*/ 349529 w 1292225"/>
                  <a:gd name="connsiteY102" fmla="*/ 857010 h 892175"/>
                  <a:gd name="connsiteX103" fmla="*/ 360961 w 1292225"/>
                  <a:gd name="connsiteY103" fmla="*/ 859154 h 892175"/>
                  <a:gd name="connsiteX104" fmla="*/ 363104 w 1292225"/>
                  <a:gd name="connsiteY104" fmla="*/ 859154 h 892175"/>
                  <a:gd name="connsiteX105" fmla="*/ 373107 w 1292225"/>
                  <a:gd name="connsiteY105" fmla="*/ 860583 h 892175"/>
                  <a:gd name="connsiteX106" fmla="*/ 375250 w 1292225"/>
                  <a:gd name="connsiteY106" fmla="*/ 861298 h 892175"/>
                  <a:gd name="connsiteX107" fmla="*/ 386682 w 1292225"/>
                  <a:gd name="connsiteY107" fmla="*/ 862012 h 892175"/>
                  <a:gd name="connsiteX108" fmla="*/ 389539 w 1292225"/>
                  <a:gd name="connsiteY108" fmla="*/ 862012 h 892175"/>
                  <a:gd name="connsiteX109" fmla="*/ 401685 w 1292225"/>
                  <a:gd name="connsiteY109" fmla="*/ 862012 h 892175"/>
                  <a:gd name="connsiteX110" fmla="*/ 414546 w 1292225"/>
                  <a:gd name="connsiteY110" fmla="*/ 862012 h 892175"/>
                  <a:gd name="connsiteX111" fmla="*/ 415260 w 1292225"/>
                  <a:gd name="connsiteY111" fmla="*/ 862012 h 892175"/>
                  <a:gd name="connsiteX112" fmla="*/ 425977 w 1292225"/>
                  <a:gd name="connsiteY112" fmla="*/ 861298 h 892175"/>
                  <a:gd name="connsiteX113" fmla="*/ 428121 w 1292225"/>
                  <a:gd name="connsiteY113" fmla="*/ 860583 h 892175"/>
                  <a:gd name="connsiteX114" fmla="*/ 439552 w 1292225"/>
                  <a:gd name="connsiteY114" fmla="*/ 859154 h 892175"/>
                  <a:gd name="connsiteX115" fmla="*/ 441696 w 1292225"/>
                  <a:gd name="connsiteY115" fmla="*/ 859154 h 892175"/>
                  <a:gd name="connsiteX116" fmla="*/ 452413 w 1292225"/>
                  <a:gd name="connsiteY116" fmla="*/ 857010 h 892175"/>
                  <a:gd name="connsiteX117" fmla="*/ 455270 w 1292225"/>
                  <a:gd name="connsiteY117" fmla="*/ 857010 h 892175"/>
                  <a:gd name="connsiteX118" fmla="*/ 465987 w 1292225"/>
                  <a:gd name="connsiteY118" fmla="*/ 854151 h 892175"/>
                  <a:gd name="connsiteX119" fmla="*/ 468131 w 1292225"/>
                  <a:gd name="connsiteY119" fmla="*/ 853436 h 892175"/>
                  <a:gd name="connsiteX120" fmla="*/ 477419 w 1292225"/>
                  <a:gd name="connsiteY120" fmla="*/ 851292 h 892175"/>
                  <a:gd name="connsiteX121" fmla="*/ 479562 w 1292225"/>
                  <a:gd name="connsiteY121" fmla="*/ 849863 h 892175"/>
                  <a:gd name="connsiteX122" fmla="*/ 488850 w 1292225"/>
                  <a:gd name="connsiteY122" fmla="*/ 847005 h 892175"/>
                  <a:gd name="connsiteX123" fmla="*/ 489565 w 1292225"/>
                  <a:gd name="connsiteY123" fmla="*/ 847005 h 892175"/>
                  <a:gd name="connsiteX124" fmla="*/ 492423 w 1292225"/>
                  <a:gd name="connsiteY124" fmla="*/ 845575 h 892175"/>
                  <a:gd name="connsiteX125" fmla="*/ 500996 w 1292225"/>
                  <a:gd name="connsiteY125" fmla="*/ 842717 h 892175"/>
                  <a:gd name="connsiteX126" fmla="*/ 504569 w 1292225"/>
                  <a:gd name="connsiteY126" fmla="*/ 840573 h 892175"/>
                  <a:gd name="connsiteX127" fmla="*/ 512428 w 1292225"/>
                  <a:gd name="connsiteY127" fmla="*/ 836999 h 892175"/>
                  <a:gd name="connsiteX128" fmla="*/ 516715 w 1292225"/>
                  <a:gd name="connsiteY128" fmla="*/ 834856 h 892175"/>
                  <a:gd name="connsiteX129" fmla="*/ 523145 w 1292225"/>
                  <a:gd name="connsiteY129" fmla="*/ 831997 h 892175"/>
                  <a:gd name="connsiteX130" fmla="*/ 528861 w 1292225"/>
                  <a:gd name="connsiteY130" fmla="*/ 829138 h 892175"/>
                  <a:gd name="connsiteX131" fmla="*/ 533147 w 1292225"/>
                  <a:gd name="connsiteY131" fmla="*/ 826280 h 892175"/>
                  <a:gd name="connsiteX132" fmla="*/ 541006 w 1292225"/>
                  <a:gd name="connsiteY132" fmla="*/ 821992 h 892175"/>
                  <a:gd name="connsiteX133" fmla="*/ 543864 w 1292225"/>
                  <a:gd name="connsiteY133" fmla="*/ 819848 h 892175"/>
                  <a:gd name="connsiteX134" fmla="*/ 552438 w 1292225"/>
                  <a:gd name="connsiteY134" fmla="*/ 814131 h 892175"/>
                  <a:gd name="connsiteX135" fmla="*/ 554581 w 1292225"/>
                  <a:gd name="connsiteY135" fmla="*/ 812701 h 892175"/>
                  <a:gd name="connsiteX136" fmla="*/ 578159 w 1292225"/>
                  <a:gd name="connsiteY136" fmla="*/ 793406 h 892175"/>
                  <a:gd name="connsiteX137" fmla="*/ 583875 w 1292225"/>
                  <a:gd name="connsiteY137" fmla="*/ 796979 h 892175"/>
                  <a:gd name="connsiteX138" fmla="*/ 585303 w 1292225"/>
                  <a:gd name="connsiteY138" fmla="*/ 798409 h 892175"/>
                  <a:gd name="connsiteX139" fmla="*/ 586732 w 1292225"/>
                  <a:gd name="connsiteY139" fmla="*/ 799123 h 892175"/>
                  <a:gd name="connsiteX140" fmla="*/ 593877 w 1292225"/>
                  <a:gd name="connsiteY140" fmla="*/ 803411 h 892175"/>
                  <a:gd name="connsiteX141" fmla="*/ 602451 w 1292225"/>
                  <a:gd name="connsiteY141" fmla="*/ 808414 h 892175"/>
                  <a:gd name="connsiteX142" fmla="*/ 603165 w 1292225"/>
                  <a:gd name="connsiteY142" fmla="*/ 808414 h 892175"/>
                  <a:gd name="connsiteX143" fmla="*/ 611739 w 1292225"/>
                  <a:gd name="connsiteY143" fmla="*/ 812701 h 892175"/>
                  <a:gd name="connsiteX144" fmla="*/ 612453 w 1292225"/>
                  <a:gd name="connsiteY144" fmla="*/ 813416 h 892175"/>
                  <a:gd name="connsiteX145" fmla="*/ 621027 w 1292225"/>
                  <a:gd name="connsiteY145" fmla="*/ 816989 h 892175"/>
                  <a:gd name="connsiteX146" fmla="*/ 622456 w 1292225"/>
                  <a:gd name="connsiteY146" fmla="*/ 817704 h 892175"/>
                  <a:gd name="connsiteX147" fmla="*/ 630315 w 1292225"/>
                  <a:gd name="connsiteY147" fmla="*/ 820563 h 892175"/>
                  <a:gd name="connsiteX148" fmla="*/ 632458 w 1292225"/>
                  <a:gd name="connsiteY148" fmla="*/ 821277 h 892175"/>
                  <a:gd name="connsiteX149" fmla="*/ 640317 w 1292225"/>
                  <a:gd name="connsiteY149" fmla="*/ 824136 h 892175"/>
                  <a:gd name="connsiteX150" fmla="*/ 641746 w 1292225"/>
                  <a:gd name="connsiteY150" fmla="*/ 824136 h 892175"/>
                  <a:gd name="connsiteX151" fmla="*/ 642461 w 1292225"/>
                  <a:gd name="connsiteY151" fmla="*/ 824850 h 892175"/>
                  <a:gd name="connsiteX152" fmla="*/ 649606 w 1292225"/>
                  <a:gd name="connsiteY152" fmla="*/ 826280 h 892175"/>
                  <a:gd name="connsiteX153" fmla="*/ 652463 w 1292225"/>
                  <a:gd name="connsiteY153" fmla="*/ 826994 h 892175"/>
                  <a:gd name="connsiteX154" fmla="*/ 653892 w 1292225"/>
                  <a:gd name="connsiteY154" fmla="*/ 827709 h 892175"/>
                  <a:gd name="connsiteX155" fmla="*/ 659608 w 1292225"/>
                  <a:gd name="connsiteY155" fmla="*/ 829138 h 892175"/>
                  <a:gd name="connsiteX156" fmla="*/ 663180 w 1292225"/>
                  <a:gd name="connsiteY156" fmla="*/ 829138 h 892175"/>
                  <a:gd name="connsiteX157" fmla="*/ 665324 w 1292225"/>
                  <a:gd name="connsiteY157" fmla="*/ 829853 h 892175"/>
                  <a:gd name="connsiteX158" fmla="*/ 670325 w 1292225"/>
                  <a:gd name="connsiteY158" fmla="*/ 830568 h 892175"/>
                  <a:gd name="connsiteX159" fmla="*/ 673897 w 1292225"/>
                  <a:gd name="connsiteY159" fmla="*/ 831282 h 892175"/>
                  <a:gd name="connsiteX160" fmla="*/ 676755 w 1292225"/>
                  <a:gd name="connsiteY160" fmla="*/ 831282 h 892175"/>
                  <a:gd name="connsiteX161" fmla="*/ 681042 w 1292225"/>
                  <a:gd name="connsiteY161" fmla="*/ 831997 h 892175"/>
                  <a:gd name="connsiteX162" fmla="*/ 686043 w 1292225"/>
                  <a:gd name="connsiteY162" fmla="*/ 832712 h 892175"/>
                  <a:gd name="connsiteX163" fmla="*/ 688187 w 1292225"/>
                  <a:gd name="connsiteY163" fmla="*/ 832712 h 892175"/>
                  <a:gd name="connsiteX164" fmla="*/ 691759 w 1292225"/>
                  <a:gd name="connsiteY164" fmla="*/ 832712 h 892175"/>
                  <a:gd name="connsiteX165" fmla="*/ 702476 w 1292225"/>
                  <a:gd name="connsiteY165" fmla="*/ 833426 h 892175"/>
                  <a:gd name="connsiteX166" fmla="*/ 712479 w 1292225"/>
                  <a:gd name="connsiteY166" fmla="*/ 832712 h 892175"/>
                  <a:gd name="connsiteX167" fmla="*/ 716051 w 1292225"/>
                  <a:gd name="connsiteY167" fmla="*/ 832712 h 892175"/>
                  <a:gd name="connsiteX168" fmla="*/ 717480 w 1292225"/>
                  <a:gd name="connsiteY168" fmla="*/ 832712 h 892175"/>
                  <a:gd name="connsiteX169" fmla="*/ 723196 w 1292225"/>
                  <a:gd name="connsiteY169" fmla="*/ 831997 h 892175"/>
                  <a:gd name="connsiteX170" fmla="*/ 726768 w 1292225"/>
                  <a:gd name="connsiteY170" fmla="*/ 831282 h 892175"/>
                  <a:gd name="connsiteX171" fmla="*/ 728911 w 1292225"/>
                  <a:gd name="connsiteY171" fmla="*/ 831282 h 892175"/>
                  <a:gd name="connsiteX172" fmla="*/ 733913 w 1292225"/>
                  <a:gd name="connsiteY172" fmla="*/ 830568 h 892175"/>
                  <a:gd name="connsiteX173" fmla="*/ 737485 w 1292225"/>
                  <a:gd name="connsiteY173" fmla="*/ 829853 h 892175"/>
                  <a:gd name="connsiteX174" fmla="*/ 739628 w 1292225"/>
                  <a:gd name="connsiteY174" fmla="*/ 829853 h 892175"/>
                  <a:gd name="connsiteX175" fmla="*/ 743915 w 1292225"/>
                  <a:gd name="connsiteY175" fmla="*/ 829138 h 892175"/>
                  <a:gd name="connsiteX176" fmla="*/ 748202 w 1292225"/>
                  <a:gd name="connsiteY176" fmla="*/ 827709 h 892175"/>
                  <a:gd name="connsiteX177" fmla="*/ 750345 w 1292225"/>
                  <a:gd name="connsiteY177" fmla="*/ 827709 h 892175"/>
                  <a:gd name="connsiteX178" fmla="*/ 753918 w 1292225"/>
                  <a:gd name="connsiteY178" fmla="*/ 826994 h 892175"/>
                  <a:gd name="connsiteX179" fmla="*/ 758919 w 1292225"/>
                  <a:gd name="connsiteY179" fmla="*/ 825565 h 892175"/>
                  <a:gd name="connsiteX180" fmla="*/ 760348 w 1292225"/>
                  <a:gd name="connsiteY180" fmla="*/ 824850 h 892175"/>
                  <a:gd name="connsiteX181" fmla="*/ 763920 w 1292225"/>
                  <a:gd name="connsiteY181" fmla="*/ 824136 h 892175"/>
                  <a:gd name="connsiteX182" fmla="*/ 769636 w 1292225"/>
                  <a:gd name="connsiteY182" fmla="*/ 821992 h 892175"/>
                  <a:gd name="connsiteX183" fmla="*/ 773208 w 1292225"/>
                  <a:gd name="connsiteY183" fmla="*/ 820563 h 892175"/>
                  <a:gd name="connsiteX184" fmla="*/ 778924 w 1292225"/>
                  <a:gd name="connsiteY184" fmla="*/ 818419 h 892175"/>
                  <a:gd name="connsiteX185" fmla="*/ 779639 w 1292225"/>
                  <a:gd name="connsiteY185" fmla="*/ 818419 h 892175"/>
                  <a:gd name="connsiteX186" fmla="*/ 782496 w 1292225"/>
                  <a:gd name="connsiteY186" fmla="*/ 816989 h 892175"/>
                  <a:gd name="connsiteX187" fmla="*/ 788927 w 1292225"/>
                  <a:gd name="connsiteY187" fmla="*/ 814845 h 892175"/>
                  <a:gd name="connsiteX188" fmla="*/ 791785 w 1292225"/>
                  <a:gd name="connsiteY188" fmla="*/ 813416 h 892175"/>
                  <a:gd name="connsiteX189" fmla="*/ 798215 w 1292225"/>
                  <a:gd name="connsiteY189" fmla="*/ 810558 h 892175"/>
                  <a:gd name="connsiteX190" fmla="*/ 800358 w 1292225"/>
                  <a:gd name="connsiteY190" fmla="*/ 809128 h 892175"/>
                  <a:gd name="connsiteX191" fmla="*/ 806788 w 1292225"/>
                  <a:gd name="connsiteY191" fmla="*/ 805555 h 892175"/>
                  <a:gd name="connsiteX192" fmla="*/ 808932 w 1292225"/>
                  <a:gd name="connsiteY192" fmla="*/ 804126 h 892175"/>
                  <a:gd name="connsiteX193" fmla="*/ 815362 w 1292225"/>
                  <a:gd name="connsiteY193" fmla="*/ 800552 h 892175"/>
                  <a:gd name="connsiteX194" fmla="*/ 817505 w 1292225"/>
                  <a:gd name="connsiteY194" fmla="*/ 799123 h 892175"/>
                  <a:gd name="connsiteX195" fmla="*/ 823936 w 1292225"/>
                  <a:gd name="connsiteY195" fmla="*/ 794835 h 892175"/>
                  <a:gd name="connsiteX196" fmla="*/ 825365 w 1292225"/>
                  <a:gd name="connsiteY196" fmla="*/ 794121 h 892175"/>
                  <a:gd name="connsiteX197" fmla="*/ 828937 w 1292225"/>
                  <a:gd name="connsiteY197" fmla="*/ 791262 h 892175"/>
                  <a:gd name="connsiteX198" fmla="*/ 833224 w 1292225"/>
                  <a:gd name="connsiteY198" fmla="*/ 793406 h 892175"/>
                  <a:gd name="connsiteX199" fmla="*/ 838939 w 1292225"/>
                  <a:gd name="connsiteY199" fmla="*/ 795550 h 892175"/>
                  <a:gd name="connsiteX200" fmla="*/ 841797 w 1292225"/>
                  <a:gd name="connsiteY200" fmla="*/ 796979 h 892175"/>
                  <a:gd name="connsiteX201" fmla="*/ 842512 w 1292225"/>
                  <a:gd name="connsiteY201" fmla="*/ 797694 h 892175"/>
                  <a:gd name="connsiteX202" fmla="*/ 846799 w 1292225"/>
                  <a:gd name="connsiteY202" fmla="*/ 799123 h 892175"/>
                  <a:gd name="connsiteX203" fmla="*/ 850371 w 1292225"/>
                  <a:gd name="connsiteY203" fmla="*/ 800552 h 892175"/>
                  <a:gd name="connsiteX204" fmla="*/ 855372 w 1292225"/>
                  <a:gd name="connsiteY204" fmla="*/ 801982 h 892175"/>
                  <a:gd name="connsiteX205" fmla="*/ 856087 w 1292225"/>
                  <a:gd name="connsiteY205" fmla="*/ 801982 h 892175"/>
                  <a:gd name="connsiteX206" fmla="*/ 858230 w 1292225"/>
                  <a:gd name="connsiteY206" fmla="*/ 802696 h 892175"/>
                  <a:gd name="connsiteX207" fmla="*/ 865375 w 1292225"/>
                  <a:gd name="connsiteY207" fmla="*/ 804840 h 892175"/>
                  <a:gd name="connsiteX208" fmla="*/ 868233 w 1292225"/>
                  <a:gd name="connsiteY208" fmla="*/ 805555 h 892175"/>
                  <a:gd name="connsiteX209" fmla="*/ 868233 w 1292225"/>
                  <a:gd name="connsiteY209" fmla="*/ 806270 h 892175"/>
                  <a:gd name="connsiteX210" fmla="*/ 873948 w 1292225"/>
                  <a:gd name="connsiteY210" fmla="*/ 806984 h 892175"/>
                  <a:gd name="connsiteX211" fmla="*/ 876806 w 1292225"/>
                  <a:gd name="connsiteY211" fmla="*/ 807699 h 892175"/>
                  <a:gd name="connsiteX212" fmla="*/ 883951 w 1292225"/>
                  <a:gd name="connsiteY212" fmla="*/ 809128 h 892175"/>
                  <a:gd name="connsiteX213" fmla="*/ 885380 w 1292225"/>
                  <a:gd name="connsiteY213" fmla="*/ 809128 h 892175"/>
                  <a:gd name="connsiteX214" fmla="*/ 893953 w 1292225"/>
                  <a:gd name="connsiteY214" fmla="*/ 810558 h 892175"/>
                  <a:gd name="connsiteX215" fmla="*/ 896811 w 1292225"/>
                  <a:gd name="connsiteY215" fmla="*/ 810558 h 892175"/>
                  <a:gd name="connsiteX216" fmla="*/ 903241 w 1292225"/>
                  <a:gd name="connsiteY216" fmla="*/ 811272 h 892175"/>
                  <a:gd name="connsiteX217" fmla="*/ 906099 w 1292225"/>
                  <a:gd name="connsiteY217" fmla="*/ 811272 h 892175"/>
                  <a:gd name="connsiteX218" fmla="*/ 913958 w 1292225"/>
                  <a:gd name="connsiteY218" fmla="*/ 811272 h 892175"/>
                  <a:gd name="connsiteX219" fmla="*/ 915387 w 1292225"/>
                  <a:gd name="connsiteY219" fmla="*/ 811272 h 892175"/>
                  <a:gd name="connsiteX220" fmla="*/ 923961 w 1292225"/>
                  <a:gd name="connsiteY220" fmla="*/ 811272 h 892175"/>
                  <a:gd name="connsiteX221" fmla="*/ 926819 w 1292225"/>
                  <a:gd name="connsiteY221" fmla="*/ 811272 h 892175"/>
                  <a:gd name="connsiteX222" fmla="*/ 928248 w 1292225"/>
                  <a:gd name="connsiteY222" fmla="*/ 811272 h 892175"/>
                  <a:gd name="connsiteX223" fmla="*/ 933964 w 1292225"/>
                  <a:gd name="connsiteY223" fmla="*/ 810558 h 892175"/>
                  <a:gd name="connsiteX224" fmla="*/ 936821 w 1292225"/>
                  <a:gd name="connsiteY224" fmla="*/ 810558 h 892175"/>
                  <a:gd name="connsiteX225" fmla="*/ 938250 w 1292225"/>
                  <a:gd name="connsiteY225" fmla="*/ 809843 h 892175"/>
                  <a:gd name="connsiteX226" fmla="*/ 943252 w 1292225"/>
                  <a:gd name="connsiteY226" fmla="*/ 809128 h 892175"/>
                  <a:gd name="connsiteX227" fmla="*/ 946824 w 1292225"/>
                  <a:gd name="connsiteY227" fmla="*/ 809128 h 892175"/>
                  <a:gd name="connsiteX228" fmla="*/ 948253 w 1292225"/>
                  <a:gd name="connsiteY228" fmla="*/ 808414 h 892175"/>
                  <a:gd name="connsiteX229" fmla="*/ 952540 w 1292225"/>
                  <a:gd name="connsiteY229" fmla="*/ 807699 h 892175"/>
                  <a:gd name="connsiteX230" fmla="*/ 956112 w 1292225"/>
                  <a:gd name="connsiteY230" fmla="*/ 806984 h 892175"/>
                  <a:gd name="connsiteX231" fmla="*/ 956827 w 1292225"/>
                  <a:gd name="connsiteY231" fmla="*/ 806984 h 892175"/>
                  <a:gd name="connsiteX232" fmla="*/ 961828 w 1292225"/>
                  <a:gd name="connsiteY232" fmla="*/ 805555 h 892175"/>
                  <a:gd name="connsiteX233" fmla="*/ 965400 w 1292225"/>
                  <a:gd name="connsiteY233" fmla="*/ 804840 h 892175"/>
                  <a:gd name="connsiteX234" fmla="*/ 970401 w 1292225"/>
                  <a:gd name="connsiteY234" fmla="*/ 803411 h 892175"/>
                  <a:gd name="connsiteX235" fmla="*/ 974688 w 1292225"/>
                  <a:gd name="connsiteY235" fmla="*/ 801982 h 892175"/>
                  <a:gd name="connsiteX236" fmla="*/ 979689 w 1292225"/>
                  <a:gd name="connsiteY236" fmla="*/ 800552 h 892175"/>
                  <a:gd name="connsiteX237" fmla="*/ 983262 w 1292225"/>
                  <a:gd name="connsiteY237" fmla="*/ 799123 h 892175"/>
                  <a:gd name="connsiteX238" fmla="*/ 988263 w 1292225"/>
                  <a:gd name="connsiteY238" fmla="*/ 796979 h 892175"/>
                  <a:gd name="connsiteX239" fmla="*/ 991835 w 1292225"/>
                  <a:gd name="connsiteY239" fmla="*/ 795550 h 892175"/>
                  <a:gd name="connsiteX240" fmla="*/ 996837 w 1292225"/>
                  <a:gd name="connsiteY240" fmla="*/ 793406 h 892175"/>
                  <a:gd name="connsiteX241" fmla="*/ 1000409 w 1292225"/>
                  <a:gd name="connsiteY241" fmla="*/ 791977 h 892175"/>
                  <a:gd name="connsiteX242" fmla="*/ 1004696 w 1292225"/>
                  <a:gd name="connsiteY242" fmla="*/ 789118 h 892175"/>
                  <a:gd name="connsiteX243" fmla="*/ 1008268 w 1292225"/>
                  <a:gd name="connsiteY243" fmla="*/ 787689 h 892175"/>
                  <a:gd name="connsiteX244" fmla="*/ 1012555 w 1292225"/>
                  <a:gd name="connsiteY244" fmla="*/ 784830 h 892175"/>
                  <a:gd name="connsiteX245" fmla="*/ 1013269 w 1292225"/>
                  <a:gd name="connsiteY245" fmla="*/ 784830 h 892175"/>
                  <a:gd name="connsiteX246" fmla="*/ 1016127 w 1292225"/>
                  <a:gd name="connsiteY246" fmla="*/ 782686 h 892175"/>
                  <a:gd name="connsiteX247" fmla="*/ 1020414 w 1292225"/>
                  <a:gd name="connsiteY247" fmla="*/ 780542 h 892175"/>
                  <a:gd name="connsiteX248" fmla="*/ 1021129 w 1292225"/>
                  <a:gd name="connsiteY248" fmla="*/ 779828 h 892175"/>
                  <a:gd name="connsiteX249" fmla="*/ 1023986 w 1292225"/>
                  <a:gd name="connsiteY249" fmla="*/ 777684 h 892175"/>
                  <a:gd name="connsiteX250" fmla="*/ 1027559 w 1292225"/>
                  <a:gd name="connsiteY250" fmla="*/ 775540 h 892175"/>
                  <a:gd name="connsiteX251" fmla="*/ 1028988 w 1292225"/>
                  <a:gd name="connsiteY251" fmla="*/ 774110 h 892175"/>
                  <a:gd name="connsiteX252" fmla="*/ 1031131 w 1292225"/>
                  <a:gd name="connsiteY252" fmla="*/ 772681 h 892175"/>
                  <a:gd name="connsiteX253" fmla="*/ 1035418 w 1292225"/>
                  <a:gd name="connsiteY253" fmla="*/ 769108 h 892175"/>
                  <a:gd name="connsiteX254" fmla="*/ 1056138 w 1292225"/>
                  <a:gd name="connsiteY254" fmla="*/ 769108 h 892175"/>
                  <a:gd name="connsiteX255" fmla="*/ 1254045 w 1292225"/>
                  <a:gd name="connsiteY255" fmla="*/ 617603 h 892175"/>
                  <a:gd name="connsiteX256" fmla="*/ 1256188 w 1292225"/>
                  <a:gd name="connsiteY256" fmla="*/ 607598 h 892175"/>
                  <a:gd name="connsiteX257" fmla="*/ 1260475 w 1292225"/>
                  <a:gd name="connsiteY257" fmla="*/ 576868 h 892175"/>
                  <a:gd name="connsiteX258" fmla="*/ 1260475 w 1292225"/>
                  <a:gd name="connsiteY258" fmla="*/ 566863 h 892175"/>
                  <a:gd name="connsiteX259" fmla="*/ 1255474 w 1292225"/>
                  <a:gd name="connsiteY259" fmla="*/ 521840 h 892175"/>
                  <a:gd name="connsiteX260" fmla="*/ 1234754 w 1292225"/>
                  <a:gd name="connsiteY260" fmla="*/ 468241 h 892175"/>
                  <a:gd name="connsiteX261" fmla="*/ 1216893 w 1292225"/>
                  <a:gd name="connsiteY261" fmla="*/ 441799 h 892175"/>
                  <a:gd name="connsiteX262" fmla="*/ 1198317 w 1292225"/>
                  <a:gd name="connsiteY262" fmla="*/ 421074 h 892175"/>
                  <a:gd name="connsiteX263" fmla="*/ 1190457 w 1292225"/>
                  <a:gd name="connsiteY263" fmla="*/ 413928 h 892175"/>
                  <a:gd name="connsiteX264" fmla="*/ 1177597 w 1292225"/>
                  <a:gd name="connsiteY264" fmla="*/ 403208 h 892175"/>
                  <a:gd name="connsiteX265" fmla="*/ 1161879 w 1292225"/>
                  <a:gd name="connsiteY265" fmla="*/ 393203 h 892175"/>
                  <a:gd name="connsiteX266" fmla="*/ 1159021 w 1292225"/>
                  <a:gd name="connsiteY266" fmla="*/ 391774 h 892175"/>
                  <a:gd name="connsiteX267" fmla="*/ 1145446 w 1292225"/>
                  <a:gd name="connsiteY267" fmla="*/ 384627 h 892175"/>
                  <a:gd name="connsiteX268" fmla="*/ 1144017 w 1292225"/>
                  <a:gd name="connsiteY268" fmla="*/ 383913 h 892175"/>
                  <a:gd name="connsiteX269" fmla="*/ 1109723 w 1292225"/>
                  <a:gd name="connsiteY269" fmla="*/ 371049 h 892175"/>
                  <a:gd name="connsiteX270" fmla="*/ 974688 w 1292225"/>
                  <a:gd name="connsiteY270" fmla="*/ 281718 h 892175"/>
                  <a:gd name="connsiteX271" fmla="*/ 916102 w 1292225"/>
                  <a:gd name="connsiteY271" fmla="*/ 166660 h 892175"/>
                  <a:gd name="connsiteX272" fmla="*/ 771779 w 1292225"/>
                  <a:gd name="connsiteY272" fmla="*/ 107344 h 892175"/>
                  <a:gd name="connsiteX273" fmla="*/ 687472 w 1292225"/>
                  <a:gd name="connsiteY273" fmla="*/ 125925 h 892175"/>
                  <a:gd name="connsiteX274" fmla="*/ 479562 w 1292225"/>
                  <a:gd name="connsiteY274" fmla="*/ 30162 h 892175"/>
                  <a:gd name="connsiteX275" fmla="*/ 480479 w 1292225"/>
                  <a:gd name="connsiteY275" fmla="*/ 0 h 892175"/>
                  <a:gd name="connsiteX276" fmla="*/ 696088 w 1292225"/>
                  <a:gd name="connsiteY276" fmla="*/ 89788 h 892175"/>
                  <a:gd name="connsiteX277" fmla="*/ 772479 w 1292225"/>
                  <a:gd name="connsiteY277" fmla="*/ 76961 h 892175"/>
                  <a:gd name="connsiteX278" fmla="*/ 938113 w 1292225"/>
                  <a:gd name="connsiteY278" fmla="*/ 145371 h 892175"/>
                  <a:gd name="connsiteX279" fmla="*/ 1001653 w 1292225"/>
                  <a:gd name="connsiteY279" fmla="*/ 255111 h 892175"/>
                  <a:gd name="connsiteX280" fmla="*/ 1130876 w 1292225"/>
                  <a:gd name="connsiteY280" fmla="*/ 344898 h 892175"/>
                  <a:gd name="connsiteX281" fmla="*/ 1157291 w 1292225"/>
                  <a:gd name="connsiteY281" fmla="*/ 355587 h 892175"/>
                  <a:gd name="connsiteX282" fmla="*/ 1159433 w 1292225"/>
                  <a:gd name="connsiteY282" fmla="*/ 356300 h 892175"/>
                  <a:gd name="connsiteX283" fmla="*/ 1175140 w 1292225"/>
                  <a:gd name="connsiteY283" fmla="*/ 364851 h 892175"/>
                  <a:gd name="connsiteX284" fmla="*/ 1177995 w 1292225"/>
                  <a:gd name="connsiteY284" fmla="*/ 366276 h 892175"/>
                  <a:gd name="connsiteX285" fmla="*/ 1196558 w 1292225"/>
                  <a:gd name="connsiteY285" fmla="*/ 378391 h 892175"/>
                  <a:gd name="connsiteX286" fmla="*/ 1211550 w 1292225"/>
                  <a:gd name="connsiteY286" fmla="*/ 390505 h 892175"/>
                  <a:gd name="connsiteX287" fmla="*/ 1220118 w 1292225"/>
                  <a:gd name="connsiteY287" fmla="*/ 398343 h 892175"/>
                  <a:gd name="connsiteX288" fmla="*/ 1242250 w 1292225"/>
                  <a:gd name="connsiteY288" fmla="*/ 422572 h 892175"/>
                  <a:gd name="connsiteX289" fmla="*/ 1262954 w 1292225"/>
                  <a:gd name="connsiteY289" fmla="*/ 453214 h 892175"/>
                  <a:gd name="connsiteX290" fmla="*/ 1286514 w 1292225"/>
                  <a:gd name="connsiteY290" fmla="*/ 514497 h 892175"/>
                  <a:gd name="connsiteX291" fmla="*/ 1292225 w 1292225"/>
                  <a:gd name="connsiteY291" fmla="*/ 566517 h 892175"/>
                  <a:gd name="connsiteX292" fmla="*/ 1292225 w 1292225"/>
                  <a:gd name="connsiteY292" fmla="*/ 578631 h 892175"/>
                  <a:gd name="connsiteX293" fmla="*/ 1287228 w 1292225"/>
                  <a:gd name="connsiteY293" fmla="*/ 613549 h 892175"/>
                  <a:gd name="connsiteX294" fmla="*/ 1285086 w 1292225"/>
                  <a:gd name="connsiteY294" fmla="*/ 624950 h 892175"/>
                  <a:gd name="connsiteX295" fmla="*/ 1056626 w 1292225"/>
                  <a:gd name="connsiteY295" fmla="*/ 799537 h 892175"/>
                  <a:gd name="connsiteX296" fmla="*/ 1046631 w 1292225"/>
                  <a:gd name="connsiteY296" fmla="*/ 799537 h 892175"/>
                  <a:gd name="connsiteX297" fmla="*/ 1042347 w 1292225"/>
                  <a:gd name="connsiteY297" fmla="*/ 803100 h 892175"/>
                  <a:gd name="connsiteX298" fmla="*/ 1038778 w 1292225"/>
                  <a:gd name="connsiteY298" fmla="*/ 805238 h 892175"/>
                  <a:gd name="connsiteX299" fmla="*/ 1038064 w 1292225"/>
                  <a:gd name="connsiteY299" fmla="*/ 805951 h 892175"/>
                  <a:gd name="connsiteX300" fmla="*/ 1033066 w 1292225"/>
                  <a:gd name="connsiteY300" fmla="*/ 808801 h 892175"/>
                  <a:gd name="connsiteX301" fmla="*/ 1029497 w 1292225"/>
                  <a:gd name="connsiteY301" fmla="*/ 810939 h 892175"/>
                  <a:gd name="connsiteX302" fmla="*/ 1028783 w 1292225"/>
                  <a:gd name="connsiteY302" fmla="*/ 810939 h 892175"/>
                  <a:gd name="connsiteX303" fmla="*/ 1024499 w 1292225"/>
                  <a:gd name="connsiteY303" fmla="*/ 813789 h 892175"/>
                  <a:gd name="connsiteX304" fmla="*/ 1020215 w 1292225"/>
                  <a:gd name="connsiteY304" fmla="*/ 815927 h 892175"/>
                  <a:gd name="connsiteX305" fmla="*/ 1019501 w 1292225"/>
                  <a:gd name="connsiteY305" fmla="*/ 815927 h 892175"/>
                  <a:gd name="connsiteX306" fmla="*/ 1014504 w 1292225"/>
                  <a:gd name="connsiteY306" fmla="*/ 818777 h 892175"/>
                  <a:gd name="connsiteX307" fmla="*/ 1010220 w 1292225"/>
                  <a:gd name="connsiteY307" fmla="*/ 820915 h 892175"/>
                  <a:gd name="connsiteX308" fmla="*/ 1005223 w 1292225"/>
                  <a:gd name="connsiteY308" fmla="*/ 823053 h 892175"/>
                  <a:gd name="connsiteX309" fmla="*/ 1000225 w 1292225"/>
                  <a:gd name="connsiteY309" fmla="*/ 825191 h 892175"/>
                  <a:gd name="connsiteX310" fmla="*/ 995228 w 1292225"/>
                  <a:gd name="connsiteY310" fmla="*/ 827329 h 892175"/>
                  <a:gd name="connsiteX311" fmla="*/ 990230 w 1292225"/>
                  <a:gd name="connsiteY311" fmla="*/ 828754 h 892175"/>
                  <a:gd name="connsiteX312" fmla="*/ 985233 w 1292225"/>
                  <a:gd name="connsiteY312" fmla="*/ 830892 h 892175"/>
                  <a:gd name="connsiteX313" fmla="*/ 980235 w 1292225"/>
                  <a:gd name="connsiteY313" fmla="*/ 832317 h 892175"/>
                  <a:gd name="connsiteX314" fmla="*/ 974523 w 1292225"/>
                  <a:gd name="connsiteY314" fmla="*/ 833742 h 892175"/>
                  <a:gd name="connsiteX315" fmla="*/ 970240 w 1292225"/>
                  <a:gd name="connsiteY315" fmla="*/ 835167 h 892175"/>
                  <a:gd name="connsiteX316" fmla="*/ 963814 w 1292225"/>
                  <a:gd name="connsiteY316" fmla="*/ 836592 h 892175"/>
                  <a:gd name="connsiteX317" fmla="*/ 963101 w 1292225"/>
                  <a:gd name="connsiteY317" fmla="*/ 836592 h 892175"/>
                  <a:gd name="connsiteX318" fmla="*/ 959531 w 1292225"/>
                  <a:gd name="connsiteY318" fmla="*/ 837305 h 892175"/>
                  <a:gd name="connsiteX319" fmla="*/ 953819 w 1292225"/>
                  <a:gd name="connsiteY319" fmla="*/ 838730 h 892175"/>
                  <a:gd name="connsiteX320" fmla="*/ 952391 w 1292225"/>
                  <a:gd name="connsiteY320" fmla="*/ 838730 h 892175"/>
                  <a:gd name="connsiteX321" fmla="*/ 948108 w 1292225"/>
                  <a:gd name="connsiteY321" fmla="*/ 839443 h 892175"/>
                  <a:gd name="connsiteX322" fmla="*/ 942396 w 1292225"/>
                  <a:gd name="connsiteY322" fmla="*/ 840155 h 892175"/>
                  <a:gd name="connsiteX323" fmla="*/ 941682 w 1292225"/>
                  <a:gd name="connsiteY323" fmla="*/ 840155 h 892175"/>
                  <a:gd name="connsiteX324" fmla="*/ 937399 w 1292225"/>
                  <a:gd name="connsiteY324" fmla="*/ 840868 h 892175"/>
                  <a:gd name="connsiteX325" fmla="*/ 930973 w 1292225"/>
                  <a:gd name="connsiteY325" fmla="*/ 841581 h 892175"/>
                  <a:gd name="connsiteX326" fmla="*/ 930259 w 1292225"/>
                  <a:gd name="connsiteY326" fmla="*/ 841581 h 892175"/>
                  <a:gd name="connsiteX327" fmla="*/ 926690 w 1292225"/>
                  <a:gd name="connsiteY327" fmla="*/ 841581 h 892175"/>
                  <a:gd name="connsiteX328" fmla="*/ 915981 w 1292225"/>
                  <a:gd name="connsiteY328" fmla="*/ 841581 h 892175"/>
                  <a:gd name="connsiteX329" fmla="*/ 914553 w 1292225"/>
                  <a:gd name="connsiteY329" fmla="*/ 841581 h 892175"/>
                  <a:gd name="connsiteX330" fmla="*/ 905272 w 1292225"/>
                  <a:gd name="connsiteY330" fmla="*/ 841581 h 892175"/>
                  <a:gd name="connsiteX331" fmla="*/ 901702 w 1292225"/>
                  <a:gd name="connsiteY331" fmla="*/ 841581 h 892175"/>
                  <a:gd name="connsiteX332" fmla="*/ 894563 w 1292225"/>
                  <a:gd name="connsiteY332" fmla="*/ 840868 h 892175"/>
                  <a:gd name="connsiteX333" fmla="*/ 890993 w 1292225"/>
                  <a:gd name="connsiteY333" fmla="*/ 840868 h 892175"/>
                  <a:gd name="connsiteX334" fmla="*/ 880998 w 1292225"/>
                  <a:gd name="connsiteY334" fmla="*/ 839443 h 892175"/>
                  <a:gd name="connsiteX335" fmla="*/ 879570 w 1292225"/>
                  <a:gd name="connsiteY335" fmla="*/ 838730 h 892175"/>
                  <a:gd name="connsiteX336" fmla="*/ 871717 w 1292225"/>
                  <a:gd name="connsiteY336" fmla="*/ 837305 h 892175"/>
                  <a:gd name="connsiteX337" fmla="*/ 868861 w 1292225"/>
                  <a:gd name="connsiteY337" fmla="*/ 837305 h 892175"/>
                  <a:gd name="connsiteX338" fmla="*/ 868147 w 1292225"/>
                  <a:gd name="connsiteY338" fmla="*/ 836592 h 892175"/>
                  <a:gd name="connsiteX339" fmla="*/ 862435 w 1292225"/>
                  <a:gd name="connsiteY339" fmla="*/ 835167 h 892175"/>
                  <a:gd name="connsiteX340" fmla="*/ 861722 w 1292225"/>
                  <a:gd name="connsiteY340" fmla="*/ 835167 h 892175"/>
                  <a:gd name="connsiteX341" fmla="*/ 858866 w 1292225"/>
                  <a:gd name="connsiteY341" fmla="*/ 834455 h 892175"/>
                  <a:gd name="connsiteX342" fmla="*/ 849585 w 1292225"/>
                  <a:gd name="connsiteY342" fmla="*/ 832317 h 892175"/>
                  <a:gd name="connsiteX343" fmla="*/ 846729 w 1292225"/>
                  <a:gd name="connsiteY343" fmla="*/ 830892 h 892175"/>
                  <a:gd name="connsiteX344" fmla="*/ 846015 w 1292225"/>
                  <a:gd name="connsiteY344" fmla="*/ 830892 h 892175"/>
                  <a:gd name="connsiteX345" fmla="*/ 840303 w 1292225"/>
                  <a:gd name="connsiteY345" fmla="*/ 828754 h 892175"/>
                  <a:gd name="connsiteX346" fmla="*/ 836020 w 1292225"/>
                  <a:gd name="connsiteY346" fmla="*/ 827329 h 892175"/>
                  <a:gd name="connsiteX347" fmla="*/ 832450 w 1292225"/>
                  <a:gd name="connsiteY347" fmla="*/ 825903 h 892175"/>
                  <a:gd name="connsiteX348" fmla="*/ 825311 w 1292225"/>
                  <a:gd name="connsiteY348" fmla="*/ 830179 h 892175"/>
                  <a:gd name="connsiteX349" fmla="*/ 823169 w 1292225"/>
                  <a:gd name="connsiteY349" fmla="*/ 831604 h 892175"/>
                  <a:gd name="connsiteX350" fmla="*/ 815316 w 1292225"/>
                  <a:gd name="connsiteY350" fmla="*/ 835880 h 892175"/>
                  <a:gd name="connsiteX351" fmla="*/ 813174 w 1292225"/>
                  <a:gd name="connsiteY351" fmla="*/ 837305 h 892175"/>
                  <a:gd name="connsiteX352" fmla="*/ 805321 w 1292225"/>
                  <a:gd name="connsiteY352" fmla="*/ 840868 h 892175"/>
                  <a:gd name="connsiteX353" fmla="*/ 802465 w 1292225"/>
                  <a:gd name="connsiteY353" fmla="*/ 842293 h 892175"/>
                  <a:gd name="connsiteX354" fmla="*/ 795325 w 1292225"/>
                  <a:gd name="connsiteY354" fmla="*/ 845144 h 892175"/>
                  <a:gd name="connsiteX355" fmla="*/ 791756 w 1292225"/>
                  <a:gd name="connsiteY355" fmla="*/ 846569 h 892175"/>
                  <a:gd name="connsiteX356" fmla="*/ 791042 w 1292225"/>
                  <a:gd name="connsiteY356" fmla="*/ 846569 h 892175"/>
                  <a:gd name="connsiteX357" fmla="*/ 784616 w 1292225"/>
                  <a:gd name="connsiteY357" fmla="*/ 849419 h 892175"/>
                  <a:gd name="connsiteX358" fmla="*/ 780333 w 1292225"/>
                  <a:gd name="connsiteY358" fmla="*/ 850844 h 892175"/>
                  <a:gd name="connsiteX359" fmla="*/ 773193 w 1292225"/>
                  <a:gd name="connsiteY359" fmla="*/ 852982 h 892175"/>
                  <a:gd name="connsiteX360" fmla="*/ 769624 w 1292225"/>
                  <a:gd name="connsiteY360" fmla="*/ 854407 h 892175"/>
                  <a:gd name="connsiteX361" fmla="*/ 768196 w 1292225"/>
                  <a:gd name="connsiteY361" fmla="*/ 854407 h 892175"/>
                  <a:gd name="connsiteX362" fmla="*/ 762484 w 1292225"/>
                  <a:gd name="connsiteY362" fmla="*/ 855833 h 892175"/>
                  <a:gd name="connsiteX363" fmla="*/ 758201 w 1292225"/>
                  <a:gd name="connsiteY363" fmla="*/ 857258 h 892175"/>
                  <a:gd name="connsiteX364" fmla="*/ 756059 w 1292225"/>
                  <a:gd name="connsiteY364" fmla="*/ 857258 h 892175"/>
                  <a:gd name="connsiteX365" fmla="*/ 751061 w 1292225"/>
                  <a:gd name="connsiteY365" fmla="*/ 858683 h 892175"/>
                  <a:gd name="connsiteX366" fmla="*/ 746064 w 1292225"/>
                  <a:gd name="connsiteY366" fmla="*/ 859396 h 892175"/>
                  <a:gd name="connsiteX367" fmla="*/ 743922 w 1292225"/>
                  <a:gd name="connsiteY367" fmla="*/ 860108 h 892175"/>
                  <a:gd name="connsiteX368" fmla="*/ 738924 w 1292225"/>
                  <a:gd name="connsiteY368" fmla="*/ 860821 h 892175"/>
                  <a:gd name="connsiteX369" fmla="*/ 733927 w 1292225"/>
                  <a:gd name="connsiteY369" fmla="*/ 861533 h 892175"/>
                  <a:gd name="connsiteX370" fmla="*/ 731785 w 1292225"/>
                  <a:gd name="connsiteY370" fmla="*/ 861533 h 892175"/>
                  <a:gd name="connsiteX371" fmla="*/ 727501 w 1292225"/>
                  <a:gd name="connsiteY371" fmla="*/ 862246 h 892175"/>
                  <a:gd name="connsiteX372" fmla="*/ 720362 w 1292225"/>
                  <a:gd name="connsiteY372" fmla="*/ 862959 h 892175"/>
                  <a:gd name="connsiteX373" fmla="*/ 718934 w 1292225"/>
                  <a:gd name="connsiteY373" fmla="*/ 862959 h 892175"/>
                  <a:gd name="connsiteX374" fmla="*/ 715365 w 1292225"/>
                  <a:gd name="connsiteY374" fmla="*/ 862959 h 892175"/>
                  <a:gd name="connsiteX375" fmla="*/ 703228 w 1292225"/>
                  <a:gd name="connsiteY375" fmla="*/ 863671 h 892175"/>
                  <a:gd name="connsiteX376" fmla="*/ 690377 w 1292225"/>
                  <a:gd name="connsiteY376" fmla="*/ 862959 h 892175"/>
                  <a:gd name="connsiteX377" fmla="*/ 686807 w 1292225"/>
                  <a:gd name="connsiteY377" fmla="*/ 862959 h 892175"/>
                  <a:gd name="connsiteX378" fmla="*/ 684665 w 1292225"/>
                  <a:gd name="connsiteY378" fmla="*/ 862246 h 892175"/>
                  <a:gd name="connsiteX379" fmla="*/ 678240 w 1292225"/>
                  <a:gd name="connsiteY379" fmla="*/ 862246 h 892175"/>
                  <a:gd name="connsiteX380" fmla="*/ 673242 w 1292225"/>
                  <a:gd name="connsiteY380" fmla="*/ 861533 h 892175"/>
                  <a:gd name="connsiteX381" fmla="*/ 671100 w 1292225"/>
                  <a:gd name="connsiteY381" fmla="*/ 861533 h 892175"/>
                  <a:gd name="connsiteX382" fmla="*/ 666103 w 1292225"/>
                  <a:gd name="connsiteY382" fmla="*/ 860821 h 892175"/>
                  <a:gd name="connsiteX383" fmla="*/ 660391 w 1292225"/>
                  <a:gd name="connsiteY383" fmla="*/ 859396 h 892175"/>
                  <a:gd name="connsiteX384" fmla="*/ 658250 w 1292225"/>
                  <a:gd name="connsiteY384" fmla="*/ 859396 h 892175"/>
                  <a:gd name="connsiteX385" fmla="*/ 654680 w 1292225"/>
                  <a:gd name="connsiteY385" fmla="*/ 858683 h 892175"/>
                  <a:gd name="connsiteX386" fmla="*/ 647541 w 1292225"/>
                  <a:gd name="connsiteY386" fmla="*/ 856545 h 892175"/>
                  <a:gd name="connsiteX387" fmla="*/ 646113 w 1292225"/>
                  <a:gd name="connsiteY387" fmla="*/ 856545 h 892175"/>
                  <a:gd name="connsiteX388" fmla="*/ 642543 w 1292225"/>
                  <a:gd name="connsiteY388" fmla="*/ 855833 h 892175"/>
                  <a:gd name="connsiteX389" fmla="*/ 634690 w 1292225"/>
                  <a:gd name="connsiteY389" fmla="*/ 853695 h 892175"/>
                  <a:gd name="connsiteX390" fmla="*/ 631834 w 1292225"/>
                  <a:gd name="connsiteY390" fmla="*/ 852982 h 892175"/>
                  <a:gd name="connsiteX391" fmla="*/ 623267 w 1292225"/>
                  <a:gd name="connsiteY391" fmla="*/ 850132 h 892175"/>
                  <a:gd name="connsiteX392" fmla="*/ 620411 w 1292225"/>
                  <a:gd name="connsiteY392" fmla="*/ 848707 h 892175"/>
                  <a:gd name="connsiteX393" fmla="*/ 611130 w 1292225"/>
                  <a:gd name="connsiteY393" fmla="*/ 845856 h 892175"/>
                  <a:gd name="connsiteX394" fmla="*/ 609702 w 1292225"/>
                  <a:gd name="connsiteY394" fmla="*/ 844431 h 892175"/>
                  <a:gd name="connsiteX395" fmla="*/ 600421 w 1292225"/>
                  <a:gd name="connsiteY395" fmla="*/ 840868 h 892175"/>
                  <a:gd name="connsiteX396" fmla="*/ 598993 w 1292225"/>
                  <a:gd name="connsiteY396" fmla="*/ 840155 h 892175"/>
                  <a:gd name="connsiteX397" fmla="*/ 589712 w 1292225"/>
                  <a:gd name="connsiteY397" fmla="*/ 835167 h 892175"/>
                  <a:gd name="connsiteX398" fmla="*/ 588998 w 1292225"/>
                  <a:gd name="connsiteY398" fmla="*/ 835167 h 892175"/>
                  <a:gd name="connsiteX399" fmla="*/ 588284 w 1292225"/>
                  <a:gd name="connsiteY399" fmla="*/ 834455 h 892175"/>
                  <a:gd name="connsiteX400" fmla="*/ 581858 w 1292225"/>
                  <a:gd name="connsiteY400" fmla="*/ 830892 h 892175"/>
                  <a:gd name="connsiteX401" fmla="*/ 574005 w 1292225"/>
                  <a:gd name="connsiteY401" fmla="*/ 836592 h 892175"/>
                  <a:gd name="connsiteX402" fmla="*/ 571149 w 1292225"/>
                  <a:gd name="connsiteY402" fmla="*/ 838730 h 892175"/>
                  <a:gd name="connsiteX403" fmla="*/ 561868 w 1292225"/>
                  <a:gd name="connsiteY403" fmla="*/ 845144 h 892175"/>
                  <a:gd name="connsiteX404" fmla="*/ 558299 w 1292225"/>
                  <a:gd name="connsiteY404" fmla="*/ 847281 h 892175"/>
                  <a:gd name="connsiteX405" fmla="*/ 549731 w 1292225"/>
                  <a:gd name="connsiteY405" fmla="*/ 852270 h 892175"/>
                  <a:gd name="connsiteX406" fmla="*/ 545448 w 1292225"/>
                  <a:gd name="connsiteY406" fmla="*/ 855120 h 892175"/>
                  <a:gd name="connsiteX407" fmla="*/ 539022 w 1292225"/>
                  <a:gd name="connsiteY407" fmla="*/ 858683 h 892175"/>
                  <a:gd name="connsiteX408" fmla="*/ 531883 w 1292225"/>
                  <a:gd name="connsiteY408" fmla="*/ 862246 h 892175"/>
                  <a:gd name="connsiteX409" fmla="*/ 526885 w 1292225"/>
                  <a:gd name="connsiteY409" fmla="*/ 864384 h 892175"/>
                  <a:gd name="connsiteX410" fmla="*/ 518318 w 1292225"/>
                  <a:gd name="connsiteY410" fmla="*/ 868659 h 892175"/>
                  <a:gd name="connsiteX411" fmla="*/ 514034 w 1292225"/>
                  <a:gd name="connsiteY411" fmla="*/ 870085 h 892175"/>
                  <a:gd name="connsiteX412" fmla="*/ 504039 w 1292225"/>
                  <a:gd name="connsiteY412" fmla="*/ 874360 h 892175"/>
                  <a:gd name="connsiteX413" fmla="*/ 501184 w 1292225"/>
                  <a:gd name="connsiteY413" fmla="*/ 875073 h 892175"/>
                  <a:gd name="connsiteX414" fmla="*/ 500470 w 1292225"/>
                  <a:gd name="connsiteY414" fmla="*/ 875785 h 892175"/>
                  <a:gd name="connsiteX415" fmla="*/ 490475 w 1292225"/>
                  <a:gd name="connsiteY415" fmla="*/ 878636 h 892175"/>
                  <a:gd name="connsiteX416" fmla="*/ 486905 w 1292225"/>
                  <a:gd name="connsiteY416" fmla="*/ 880061 h 892175"/>
                  <a:gd name="connsiteX417" fmla="*/ 476910 w 1292225"/>
                  <a:gd name="connsiteY417" fmla="*/ 882911 h 892175"/>
                  <a:gd name="connsiteX418" fmla="*/ 474768 w 1292225"/>
                  <a:gd name="connsiteY418" fmla="*/ 883624 h 892175"/>
                  <a:gd name="connsiteX419" fmla="*/ 462631 w 1292225"/>
                  <a:gd name="connsiteY419" fmla="*/ 886474 h 892175"/>
                  <a:gd name="connsiteX420" fmla="*/ 459775 w 1292225"/>
                  <a:gd name="connsiteY420" fmla="*/ 886474 h 892175"/>
                  <a:gd name="connsiteX421" fmla="*/ 447638 w 1292225"/>
                  <a:gd name="connsiteY421" fmla="*/ 888612 h 892175"/>
                  <a:gd name="connsiteX422" fmla="*/ 445497 w 1292225"/>
                  <a:gd name="connsiteY422" fmla="*/ 889325 h 892175"/>
                  <a:gd name="connsiteX423" fmla="*/ 432646 w 1292225"/>
                  <a:gd name="connsiteY423" fmla="*/ 890750 h 892175"/>
                  <a:gd name="connsiteX424" fmla="*/ 430504 w 1292225"/>
                  <a:gd name="connsiteY424" fmla="*/ 890750 h 892175"/>
                  <a:gd name="connsiteX425" fmla="*/ 417653 w 1292225"/>
                  <a:gd name="connsiteY425" fmla="*/ 892175 h 892175"/>
                  <a:gd name="connsiteX426" fmla="*/ 416939 w 1292225"/>
                  <a:gd name="connsiteY426" fmla="*/ 892175 h 892175"/>
                  <a:gd name="connsiteX427" fmla="*/ 402660 w 1292225"/>
                  <a:gd name="connsiteY427" fmla="*/ 892175 h 892175"/>
                  <a:gd name="connsiteX428" fmla="*/ 389096 w 1292225"/>
                  <a:gd name="connsiteY428" fmla="*/ 892175 h 892175"/>
                  <a:gd name="connsiteX429" fmla="*/ 388382 w 1292225"/>
                  <a:gd name="connsiteY429" fmla="*/ 892175 h 892175"/>
                  <a:gd name="connsiteX430" fmla="*/ 386240 w 1292225"/>
                  <a:gd name="connsiteY430" fmla="*/ 892175 h 892175"/>
                  <a:gd name="connsiteX431" fmla="*/ 373389 w 1292225"/>
                  <a:gd name="connsiteY431" fmla="*/ 890750 h 892175"/>
                  <a:gd name="connsiteX432" fmla="*/ 372675 w 1292225"/>
                  <a:gd name="connsiteY432" fmla="*/ 890750 h 892175"/>
                  <a:gd name="connsiteX433" fmla="*/ 371247 w 1292225"/>
                  <a:gd name="connsiteY433" fmla="*/ 890750 h 892175"/>
                  <a:gd name="connsiteX434" fmla="*/ 359110 w 1292225"/>
                  <a:gd name="connsiteY434" fmla="*/ 889325 h 892175"/>
                  <a:gd name="connsiteX435" fmla="*/ 357682 w 1292225"/>
                  <a:gd name="connsiteY435" fmla="*/ 889325 h 892175"/>
                  <a:gd name="connsiteX436" fmla="*/ 356968 w 1292225"/>
                  <a:gd name="connsiteY436" fmla="*/ 889325 h 892175"/>
                  <a:gd name="connsiteX437" fmla="*/ 344118 w 1292225"/>
                  <a:gd name="connsiteY437" fmla="*/ 886474 h 892175"/>
                  <a:gd name="connsiteX438" fmla="*/ 341976 w 1292225"/>
                  <a:gd name="connsiteY438" fmla="*/ 886474 h 892175"/>
                  <a:gd name="connsiteX439" fmla="*/ 329839 w 1292225"/>
                  <a:gd name="connsiteY439" fmla="*/ 883624 h 892175"/>
                  <a:gd name="connsiteX440" fmla="*/ 328411 w 1292225"/>
                  <a:gd name="connsiteY440" fmla="*/ 882911 h 892175"/>
                  <a:gd name="connsiteX441" fmla="*/ 316274 w 1292225"/>
                  <a:gd name="connsiteY441" fmla="*/ 880061 h 892175"/>
                  <a:gd name="connsiteX442" fmla="*/ 314132 w 1292225"/>
                  <a:gd name="connsiteY442" fmla="*/ 878636 h 892175"/>
                  <a:gd name="connsiteX443" fmla="*/ 301995 w 1292225"/>
                  <a:gd name="connsiteY443" fmla="*/ 875073 h 892175"/>
                  <a:gd name="connsiteX444" fmla="*/ 299854 w 1292225"/>
                  <a:gd name="connsiteY444" fmla="*/ 874360 h 892175"/>
                  <a:gd name="connsiteX445" fmla="*/ 289858 w 1292225"/>
                  <a:gd name="connsiteY445" fmla="*/ 870085 h 892175"/>
                  <a:gd name="connsiteX446" fmla="*/ 287717 w 1292225"/>
                  <a:gd name="connsiteY446" fmla="*/ 869372 h 892175"/>
                  <a:gd name="connsiteX447" fmla="*/ 287003 w 1292225"/>
                  <a:gd name="connsiteY447" fmla="*/ 869372 h 892175"/>
                  <a:gd name="connsiteX448" fmla="*/ 276294 w 1292225"/>
                  <a:gd name="connsiteY448" fmla="*/ 864384 h 892175"/>
                  <a:gd name="connsiteX449" fmla="*/ 273438 w 1292225"/>
                  <a:gd name="connsiteY449" fmla="*/ 862959 h 892175"/>
                  <a:gd name="connsiteX450" fmla="*/ 263443 w 1292225"/>
                  <a:gd name="connsiteY450" fmla="*/ 857970 h 892175"/>
                  <a:gd name="connsiteX451" fmla="*/ 262015 w 1292225"/>
                  <a:gd name="connsiteY451" fmla="*/ 856545 h 892175"/>
                  <a:gd name="connsiteX452" fmla="*/ 251306 w 1292225"/>
                  <a:gd name="connsiteY452" fmla="*/ 850844 h 892175"/>
                  <a:gd name="connsiteX453" fmla="*/ 248450 w 1292225"/>
                  <a:gd name="connsiteY453" fmla="*/ 849419 h 892175"/>
                  <a:gd name="connsiteX454" fmla="*/ 238455 w 1292225"/>
                  <a:gd name="connsiteY454" fmla="*/ 843006 h 892175"/>
                  <a:gd name="connsiteX455" fmla="*/ 236313 w 1292225"/>
                  <a:gd name="connsiteY455" fmla="*/ 840868 h 892175"/>
                  <a:gd name="connsiteX456" fmla="*/ 228460 w 1292225"/>
                  <a:gd name="connsiteY456" fmla="*/ 835167 h 892175"/>
                  <a:gd name="connsiteX457" fmla="*/ 227746 w 1292225"/>
                  <a:gd name="connsiteY457" fmla="*/ 835167 h 892175"/>
                  <a:gd name="connsiteX458" fmla="*/ 225604 w 1292225"/>
                  <a:gd name="connsiteY458" fmla="*/ 833742 h 892175"/>
                  <a:gd name="connsiteX459" fmla="*/ 217037 w 1292225"/>
                  <a:gd name="connsiteY459" fmla="*/ 826616 h 892175"/>
                  <a:gd name="connsiteX460" fmla="*/ 214181 w 1292225"/>
                  <a:gd name="connsiteY460" fmla="*/ 823766 h 892175"/>
                  <a:gd name="connsiteX461" fmla="*/ 206328 w 1292225"/>
                  <a:gd name="connsiteY461" fmla="*/ 817352 h 892175"/>
                  <a:gd name="connsiteX462" fmla="*/ 204186 w 1292225"/>
                  <a:gd name="connsiteY462" fmla="*/ 815927 h 892175"/>
                  <a:gd name="connsiteX463" fmla="*/ 196333 w 1292225"/>
                  <a:gd name="connsiteY463" fmla="*/ 808088 h 892175"/>
                  <a:gd name="connsiteX464" fmla="*/ 193477 w 1292225"/>
                  <a:gd name="connsiteY464" fmla="*/ 805238 h 892175"/>
                  <a:gd name="connsiteX465" fmla="*/ 185624 w 1292225"/>
                  <a:gd name="connsiteY465" fmla="*/ 797399 h 892175"/>
                  <a:gd name="connsiteX466" fmla="*/ 183482 w 1292225"/>
                  <a:gd name="connsiteY466" fmla="*/ 794549 h 892175"/>
                  <a:gd name="connsiteX467" fmla="*/ 177056 w 1292225"/>
                  <a:gd name="connsiteY467" fmla="*/ 787423 h 892175"/>
                  <a:gd name="connsiteX468" fmla="*/ 174915 w 1292225"/>
                  <a:gd name="connsiteY468" fmla="*/ 784573 h 892175"/>
                  <a:gd name="connsiteX469" fmla="*/ 171345 w 1292225"/>
                  <a:gd name="connsiteY469" fmla="*/ 780297 h 892175"/>
                  <a:gd name="connsiteX470" fmla="*/ 169203 w 1292225"/>
                  <a:gd name="connsiteY470" fmla="*/ 779584 h 892175"/>
                  <a:gd name="connsiteX471" fmla="*/ 164920 w 1292225"/>
                  <a:gd name="connsiteY471" fmla="*/ 777447 h 892175"/>
                  <a:gd name="connsiteX472" fmla="*/ 157780 w 1292225"/>
                  <a:gd name="connsiteY472" fmla="*/ 774596 h 892175"/>
                  <a:gd name="connsiteX473" fmla="*/ 157066 w 1292225"/>
                  <a:gd name="connsiteY473" fmla="*/ 773884 h 892175"/>
                  <a:gd name="connsiteX474" fmla="*/ 153497 w 1292225"/>
                  <a:gd name="connsiteY474" fmla="*/ 772458 h 892175"/>
                  <a:gd name="connsiteX475" fmla="*/ 145643 w 1292225"/>
                  <a:gd name="connsiteY475" fmla="*/ 768183 h 892175"/>
                  <a:gd name="connsiteX476" fmla="*/ 142788 w 1292225"/>
                  <a:gd name="connsiteY476" fmla="*/ 766758 h 892175"/>
                  <a:gd name="connsiteX477" fmla="*/ 132078 w 1292225"/>
                  <a:gd name="connsiteY477" fmla="*/ 761057 h 892175"/>
                  <a:gd name="connsiteX478" fmla="*/ 129937 w 1292225"/>
                  <a:gd name="connsiteY478" fmla="*/ 759632 h 892175"/>
                  <a:gd name="connsiteX479" fmla="*/ 129223 w 1292225"/>
                  <a:gd name="connsiteY479" fmla="*/ 758919 h 892175"/>
                  <a:gd name="connsiteX480" fmla="*/ 122083 w 1292225"/>
                  <a:gd name="connsiteY480" fmla="*/ 754643 h 892175"/>
                  <a:gd name="connsiteX481" fmla="*/ 119228 w 1292225"/>
                  <a:gd name="connsiteY481" fmla="*/ 752506 h 892175"/>
                  <a:gd name="connsiteX482" fmla="*/ 118514 w 1292225"/>
                  <a:gd name="connsiteY482" fmla="*/ 751793 h 892175"/>
                  <a:gd name="connsiteX483" fmla="*/ 112088 w 1292225"/>
                  <a:gd name="connsiteY483" fmla="*/ 747517 h 892175"/>
                  <a:gd name="connsiteX484" fmla="*/ 111374 w 1292225"/>
                  <a:gd name="connsiteY484" fmla="*/ 747517 h 892175"/>
                  <a:gd name="connsiteX485" fmla="*/ 108519 w 1292225"/>
                  <a:gd name="connsiteY485" fmla="*/ 744667 h 892175"/>
                  <a:gd name="connsiteX486" fmla="*/ 102093 w 1292225"/>
                  <a:gd name="connsiteY486" fmla="*/ 739679 h 892175"/>
                  <a:gd name="connsiteX487" fmla="*/ 101379 w 1292225"/>
                  <a:gd name="connsiteY487" fmla="*/ 739679 h 892175"/>
                  <a:gd name="connsiteX488" fmla="*/ 99237 w 1292225"/>
                  <a:gd name="connsiteY488" fmla="*/ 737541 h 892175"/>
                  <a:gd name="connsiteX489" fmla="*/ 89956 w 1292225"/>
                  <a:gd name="connsiteY489" fmla="*/ 729702 h 892175"/>
                  <a:gd name="connsiteX490" fmla="*/ 87814 w 1292225"/>
                  <a:gd name="connsiteY490" fmla="*/ 728277 h 892175"/>
                  <a:gd name="connsiteX491" fmla="*/ 81389 w 1292225"/>
                  <a:gd name="connsiteY491" fmla="*/ 721864 h 892175"/>
                  <a:gd name="connsiteX492" fmla="*/ 78533 w 1292225"/>
                  <a:gd name="connsiteY492" fmla="*/ 719013 h 892175"/>
                  <a:gd name="connsiteX493" fmla="*/ 78533 w 1292225"/>
                  <a:gd name="connsiteY493" fmla="*/ 718301 h 892175"/>
                  <a:gd name="connsiteX494" fmla="*/ 72822 w 1292225"/>
                  <a:gd name="connsiteY494" fmla="*/ 713313 h 892175"/>
                  <a:gd name="connsiteX495" fmla="*/ 69966 w 1292225"/>
                  <a:gd name="connsiteY495" fmla="*/ 709750 h 892175"/>
                  <a:gd name="connsiteX496" fmla="*/ 64255 w 1292225"/>
                  <a:gd name="connsiteY496" fmla="*/ 703336 h 892175"/>
                  <a:gd name="connsiteX497" fmla="*/ 62113 w 1292225"/>
                  <a:gd name="connsiteY497" fmla="*/ 700486 h 892175"/>
                  <a:gd name="connsiteX498" fmla="*/ 54973 w 1292225"/>
                  <a:gd name="connsiteY498" fmla="*/ 691935 h 892175"/>
                  <a:gd name="connsiteX499" fmla="*/ 54259 w 1292225"/>
                  <a:gd name="connsiteY499" fmla="*/ 691222 h 892175"/>
                  <a:gd name="connsiteX500" fmla="*/ 47834 w 1292225"/>
                  <a:gd name="connsiteY500" fmla="*/ 681246 h 892175"/>
                  <a:gd name="connsiteX501" fmla="*/ 45692 w 1292225"/>
                  <a:gd name="connsiteY501" fmla="*/ 679108 h 892175"/>
                  <a:gd name="connsiteX502" fmla="*/ 44978 w 1292225"/>
                  <a:gd name="connsiteY502" fmla="*/ 678395 h 892175"/>
                  <a:gd name="connsiteX503" fmla="*/ 40695 w 1292225"/>
                  <a:gd name="connsiteY503" fmla="*/ 671269 h 892175"/>
                  <a:gd name="connsiteX504" fmla="*/ 38553 w 1292225"/>
                  <a:gd name="connsiteY504" fmla="*/ 667706 h 892175"/>
                  <a:gd name="connsiteX505" fmla="*/ 34269 w 1292225"/>
                  <a:gd name="connsiteY505" fmla="*/ 660580 h 892175"/>
                  <a:gd name="connsiteX506" fmla="*/ 34269 w 1292225"/>
                  <a:gd name="connsiteY506" fmla="*/ 659868 h 892175"/>
                  <a:gd name="connsiteX507" fmla="*/ 32127 w 1292225"/>
                  <a:gd name="connsiteY507" fmla="*/ 657017 h 892175"/>
                  <a:gd name="connsiteX508" fmla="*/ 27844 w 1292225"/>
                  <a:gd name="connsiteY508" fmla="*/ 648466 h 892175"/>
                  <a:gd name="connsiteX509" fmla="*/ 27130 w 1292225"/>
                  <a:gd name="connsiteY509" fmla="*/ 646328 h 892175"/>
                  <a:gd name="connsiteX510" fmla="*/ 22132 w 1292225"/>
                  <a:gd name="connsiteY510" fmla="*/ 634927 h 892175"/>
                  <a:gd name="connsiteX511" fmla="*/ 20704 w 1292225"/>
                  <a:gd name="connsiteY511" fmla="*/ 632789 h 892175"/>
                  <a:gd name="connsiteX512" fmla="*/ 20704 w 1292225"/>
                  <a:gd name="connsiteY512" fmla="*/ 632076 h 892175"/>
                  <a:gd name="connsiteX513" fmla="*/ 17135 w 1292225"/>
                  <a:gd name="connsiteY513" fmla="*/ 623525 h 892175"/>
                  <a:gd name="connsiteX514" fmla="*/ 15707 w 1292225"/>
                  <a:gd name="connsiteY514" fmla="*/ 620675 h 892175"/>
                  <a:gd name="connsiteX515" fmla="*/ 15707 w 1292225"/>
                  <a:gd name="connsiteY515" fmla="*/ 619962 h 892175"/>
                  <a:gd name="connsiteX516" fmla="*/ 12851 w 1292225"/>
                  <a:gd name="connsiteY516" fmla="*/ 612123 h 892175"/>
                  <a:gd name="connsiteX517" fmla="*/ 12137 w 1292225"/>
                  <a:gd name="connsiteY517" fmla="*/ 607848 h 892175"/>
                  <a:gd name="connsiteX518" fmla="*/ 9281 w 1292225"/>
                  <a:gd name="connsiteY518" fmla="*/ 599297 h 892175"/>
                  <a:gd name="connsiteX519" fmla="*/ 9281 w 1292225"/>
                  <a:gd name="connsiteY519" fmla="*/ 598584 h 892175"/>
                  <a:gd name="connsiteX520" fmla="*/ 8567 w 1292225"/>
                  <a:gd name="connsiteY520" fmla="*/ 595734 h 892175"/>
                  <a:gd name="connsiteX521" fmla="*/ 5712 w 1292225"/>
                  <a:gd name="connsiteY521" fmla="*/ 583619 h 892175"/>
                  <a:gd name="connsiteX522" fmla="*/ 4998 w 1292225"/>
                  <a:gd name="connsiteY522" fmla="*/ 580769 h 892175"/>
                  <a:gd name="connsiteX523" fmla="*/ 3570 w 1292225"/>
                  <a:gd name="connsiteY523" fmla="*/ 571505 h 892175"/>
                  <a:gd name="connsiteX524" fmla="*/ 2856 w 1292225"/>
                  <a:gd name="connsiteY524" fmla="*/ 568655 h 892175"/>
                  <a:gd name="connsiteX525" fmla="*/ 2856 w 1292225"/>
                  <a:gd name="connsiteY525" fmla="*/ 567942 h 892175"/>
                  <a:gd name="connsiteX526" fmla="*/ 2856 w 1292225"/>
                  <a:gd name="connsiteY526" fmla="*/ 567230 h 892175"/>
                  <a:gd name="connsiteX527" fmla="*/ 1428 w 1292225"/>
                  <a:gd name="connsiteY527" fmla="*/ 558678 h 892175"/>
                  <a:gd name="connsiteX528" fmla="*/ 1428 w 1292225"/>
                  <a:gd name="connsiteY528" fmla="*/ 554403 h 892175"/>
                  <a:gd name="connsiteX529" fmla="*/ 714 w 1292225"/>
                  <a:gd name="connsiteY529" fmla="*/ 545852 h 892175"/>
                  <a:gd name="connsiteX530" fmla="*/ 714 w 1292225"/>
                  <a:gd name="connsiteY530" fmla="*/ 545139 h 892175"/>
                  <a:gd name="connsiteX531" fmla="*/ 0 w 1292225"/>
                  <a:gd name="connsiteY531" fmla="*/ 541576 h 892175"/>
                  <a:gd name="connsiteX532" fmla="*/ 0 w 1292225"/>
                  <a:gd name="connsiteY532" fmla="*/ 528749 h 892175"/>
                  <a:gd name="connsiteX533" fmla="*/ 67110 w 1292225"/>
                  <a:gd name="connsiteY533" fmla="*/ 350599 h 892175"/>
                  <a:gd name="connsiteX534" fmla="*/ 179912 w 1292225"/>
                  <a:gd name="connsiteY534" fmla="*/ 274351 h 892175"/>
                  <a:gd name="connsiteX535" fmla="*/ 480479 w 1292225"/>
                  <a:gd name="connsiteY535" fmla="*/ 0 h 89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1292225" h="892175">
                    <a:moveTo>
                      <a:pt x="479562" y="30162"/>
                    </a:moveTo>
                    <a:cubicBezTo>
                      <a:pt x="330953" y="30162"/>
                      <a:pt x="209494" y="149508"/>
                      <a:pt x="209494" y="297440"/>
                    </a:cubicBezTo>
                    <a:cubicBezTo>
                      <a:pt x="163053" y="309589"/>
                      <a:pt x="121614" y="335317"/>
                      <a:pt x="89463" y="371049"/>
                    </a:cubicBezTo>
                    <a:cubicBezTo>
                      <a:pt x="51596" y="414643"/>
                      <a:pt x="30162" y="470385"/>
                      <a:pt x="30162" y="528986"/>
                    </a:cubicBezTo>
                    <a:cubicBezTo>
                      <a:pt x="30162" y="532560"/>
                      <a:pt x="30162" y="536133"/>
                      <a:pt x="30162" y="540421"/>
                    </a:cubicBezTo>
                    <a:cubicBezTo>
                      <a:pt x="30162" y="541135"/>
                      <a:pt x="30877" y="541850"/>
                      <a:pt x="30877" y="543279"/>
                    </a:cubicBezTo>
                    <a:cubicBezTo>
                      <a:pt x="30877" y="543279"/>
                      <a:pt x="30877" y="543279"/>
                      <a:pt x="30877" y="543994"/>
                    </a:cubicBezTo>
                    <a:cubicBezTo>
                      <a:pt x="30877" y="546138"/>
                      <a:pt x="30877" y="548996"/>
                      <a:pt x="30877" y="551855"/>
                    </a:cubicBezTo>
                    <a:cubicBezTo>
                      <a:pt x="31591" y="552570"/>
                      <a:pt x="31591" y="553999"/>
                      <a:pt x="31591" y="555428"/>
                    </a:cubicBezTo>
                    <a:cubicBezTo>
                      <a:pt x="31591" y="558287"/>
                      <a:pt x="32306" y="560431"/>
                      <a:pt x="32306" y="563289"/>
                    </a:cubicBezTo>
                    <a:cubicBezTo>
                      <a:pt x="32306" y="563289"/>
                      <a:pt x="32306" y="563289"/>
                      <a:pt x="33020" y="564004"/>
                    </a:cubicBezTo>
                    <a:cubicBezTo>
                      <a:pt x="33020" y="564719"/>
                      <a:pt x="33020" y="566148"/>
                      <a:pt x="33020" y="566863"/>
                    </a:cubicBezTo>
                    <a:cubicBezTo>
                      <a:pt x="33735" y="569721"/>
                      <a:pt x="34449" y="572580"/>
                      <a:pt x="34449" y="575438"/>
                    </a:cubicBezTo>
                    <a:cubicBezTo>
                      <a:pt x="34449" y="575438"/>
                      <a:pt x="35164" y="576868"/>
                      <a:pt x="35164" y="577582"/>
                    </a:cubicBezTo>
                    <a:cubicBezTo>
                      <a:pt x="35878" y="581156"/>
                      <a:pt x="36592" y="584729"/>
                      <a:pt x="37307" y="588302"/>
                    </a:cubicBezTo>
                    <a:cubicBezTo>
                      <a:pt x="38021" y="589017"/>
                      <a:pt x="38021" y="589731"/>
                      <a:pt x="38021" y="590446"/>
                    </a:cubicBezTo>
                    <a:cubicBezTo>
                      <a:pt x="38021" y="590446"/>
                      <a:pt x="38021" y="590446"/>
                      <a:pt x="38736" y="591161"/>
                    </a:cubicBezTo>
                    <a:cubicBezTo>
                      <a:pt x="39450" y="594019"/>
                      <a:pt x="40165" y="596163"/>
                      <a:pt x="40879" y="599022"/>
                    </a:cubicBezTo>
                    <a:cubicBezTo>
                      <a:pt x="40879" y="599736"/>
                      <a:pt x="41594" y="602595"/>
                      <a:pt x="41594" y="602595"/>
                    </a:cubicBezTo>
                    <a:cubicBezTo>
                      <a:pt x="42308" y="604739"/>
                      <a:pt x="43023" y="606883"/>
                      <a:pt x="44452" y="609741"/>
                    </a:cubicBezTo>
                    <a:cubicBezTo>
                      <a:pt x="44452" y="609741"/>
                      <a:pt x="44452" y="609741"/>
                      <a:pt x="44452" y="610456"/>
                    </a:cubicBezTo>
                    <a:cubicBezTo>
                      <a:pt x="44452" y="611171"/>
                      <a:pt x="45166" y="611885"/>
                      <a:pt x="45166" y="613315"/>
                    </a:cubicBezTo>
                    <a:cubicBezTo>
                      <a:pt x="46595" y="615459"/>
                      <a:pt x="47309" y="618317"/>
                      <a:pt x="48024" y="620461"/>
                    </a:cubicBezTo>
                    <a:cubicBezTo>
                      <a:pt x="48024" y="620461"/>
                      <a:pt x="48024" y="620461"/>
                      <a:pt x="48738" y="621176"/>
                    </a:cubicBezTo>
                    <a:cubicBezTo>
                      <a:pt x="48738" y="621891"/>
                      <a:pt x="49453" y="622605"/>
                      <a:pt x="49453" y="623320"/>
                    </a:cubicBezTo>
                    <a:cubicBezTo>
                      <a:pt x="50882" y="626893"/>
                      <a:pt x="52311" y="629752"/>
                      <a:pt x="53740" y="633325"/>
                    </a:cubicBezTo>
                    <a:cubicBezTo>
                      <a:pt x="54454" y="633325"/>
                      <a:pt x="55169" y="634754"/>
                      <a:pt x="55169" y="634754"/>
                    </a:cubicBezTo>
                    <a:cubicBezTo>
                      <a:pt x="55883" y="637613"/>
                      <a:pt x="57312" y="639757"/>
                      <a:pt x="58741" y="642615"/>
                    </a:cubicBezTo>
                    <a:cubicBezTo>
                      <a:pt x="59455" y="643330"/>
                      <a:pt x="60170" y="644759"/>
                      <a:pt x="60170" y="645474"/>
                    </a:cubicBezTo>
                    <a:cubicBezTo>
                      <a:pt x="60170" y="645474"/>
                      <a:pt x="60170" y="645474"/>
                      <a:pt x="60884" y="645474"/>
                    </a:cubicBezTo>
                    <a:cubicBezTo>
                      <a:pt x="61599" y="647618"/>
                      <a:pt x="63028" y="649762"/>
                      <a:pt x="64457" y="651906"/>
                    </a:cubicBezTo>
                    <a:cubicBezTo>
                      <a:pt x="65171" y="653335"/>
                      <a:pt x="65886" y="654050"/>
                      <a:pt x="66600" y="655479"/>
                    </a:cubicBezTo>
                    <a:cubicBezTo>
                      <a:pt x="67315" y="657623"/>
                      <a:pt x="68743" y="659767"/>
                      <a:pt x="70172" y="661196"/>
                    </a:cubicBezTo>
                    <a:cubicBezTo>
                      <a:pt x="70172" y="661196"/>
                      <a:pt x="70172" y="661196"/>
                      <a:pt x="70887" y="661911"/>
                    </a:cubicBezTo>
                    <a:cubicBezTo>
                      <a:pt x="70887" y="662625"/>
                      <a:pt x="71601" y="663340"/>
                      <a:pt x="72316" y="664055"/>
                    </a:cubicBezTo>
                    <a:cubicBezTo>
                      <a:pt x="74459" y="667628"/>
                      <a:pt x="76603" y="670487"/>
                      <a:pt x="78032" y="672630"/>
                    </a:cubicBezTo>
                    <a:cubicBezTo>
                      <a:pt x="78746" y="673345"/>
                      <a:pt x="78746" y="673345"/>
                      <a:pt x="78746" y="673345"/>
                    </a:cubicBezTo>
                    <a:cubicBezTo>
                      <a:pt x="80889" y="676204"/>
                      <a:pt x="83033" y="678348"/>
                      <a:pt x="85176" y="681206"/>
                    </a:cubicBezTo>
                    <a:cubicBezTo>
                      <a:pt x="85176" y="681921"/>
                      <a:pt x="85891" y="682636"/>
                      <a:pt x="86605" y="683350"/>
                    </a:cubicBezTo>
                    <a:cubicBezTo>
                      <a:pt x="86605" y="683350"/>
                      <a:pt x="86605" y="683350"/>
                      <a:pt x="87320" y="684065"/>
                    </a:cubicBezTo>
                    <a:cubicBezTo>
                      <a:pt x="88749" y="685494"/>
                      <a:pt x="90178" y="687638"/>
                      <a:pt x="91606" y="689067"/>
                    </a:cubicBezTo>
                    <a:cubicBezTo>
                      <a:pt x="93035" y="690497"/>
                      <a:pt x="93750" y="691211"/>
                      <a:pt x="94464" y="691926"/>
                    </a:cubicBezTo>
                    <a:cubicBezTo>
                      <a:pt x="95893" y="694070"/>
                      <a:pt x="98037" y="695499"/>
                      <a:pt x="99466" y="697643"/>
                    </a:cubicBezTo>
                    <a:cubicBezTo>
                      <a:pt x="99466" y="697643"/>
                      <a:pt x="99466" y="697643"/>
                      <a:pt x="100180" y="697643"/>
                    </a:cubicBezTo>
                    <a:cubicBezTo>
                      <a:pt x="100895" y="698358"/>
                      <a:pt x="101609" y="699072"/>
                      <a:pt x="102323" y="699787"/>
                    </a:cubicBezTo>
                    <a:cubicBezTo>
                      <a:pt x="103752" y="701931"/>
                      <a:pt x="105896" y="704075"/>
                      <a:pt x="108039" y="705504"/>
                    </a:cubicBezTo>
                    <a:cubicBezTo>
                      <a:pt x="108039" y="705504"/>
                      <a:pt x="108039" y="705504"/>
                      <a:pt x="108754" y="706219"/>
                    </a:cubicBezTo>
                    <a:cubicBezTo>
                      <a:pt x="108754" y="706219"/>
                      <a:pt x="108754" y="706219"/>
                      <a:pt x="109468" y="706934"/>
                    </a:cubicBezTo>
                    <a:cubicBezTo>
                      <a:pt x="112326" y="709792"/>
                      <a:pt x="115184" y="711936"/>
                      <a:pt x="118042" y="714080"/>
                    </a:cubicBezTo>
                    <a:cubicBezTo>
                      <a:pt x="118756" y="714795"/>
                      <a:pt x="118756" y="714795"/>
                      <a:pt x="119471" y="715509"/>
                    </a:cubicBezTo>
                    <a:cubicBezTo>
                      <a:pt x="119471" y="715509"/>
                      <a:pt x="119471" y="715509"/>
                      <a:pt x="120185" y="716224"/>
                    </a:cubicBezTo>
                    <a:cubicBezTo>
                      <a:pt x="122329" y="717653"/>
                      <a:pt x="124472" y="719083"/>
                      <a:pt x="125901" y="720512"/>
                    </a:cubicBezTo>
                    <a:cubicBezTo>
                      <a:pt x="127330" y="721227"/>
                      <a:pt x="128044" y="721941"/>
                      <a:pt x="128759" y="722656"/>
                    </a:cubicBezTo>
                    <a:cubicBezTo>
                      <a:pt x="128759" y="722656"/>
                      <a:pt x="128759" y="722656"/>
                      <a:pt x="129473" y="723370"/>
                    </a:cubicBezTo>
                    <a:cubicBezTo>
                      <a:pt x="130902" y="724085"/>
                      <a:pt x="133046" y="725514"/>
                      <a:pt x="135189" y="726944"/>
                    </a:cubicBezTo>
                    <a:cubicBezTo>
                      <a:pt x="135189" y="726944"/>
                      <a:pt x="135189" y="726944"/>
                      <a:pt x="135189" y="727658"/>
                    </a:cubicBezTo>
                    <a:cubicBezTo>
                      <a:pt x="136618" y="727658"/>
                      <a:pt x="137332" y="728373"/>
                      <a:pt x="138047" y="729088"/>
                    </a:cubicBezTo>
                    <a:cubicBezTo>
                      <a:pt x="140190" y="730517"/>
                      <a:pt x="142334" y="731946"/>
                      <a:pt x="144477" y="733376"/>
                    </a:cubicBezTo>
                    <a:cubicBezTo>
                      <a:pt x="144477" y="733376"/>
                      <a:pt x="144477" y="733376"/>
                      <a:pt x="145192" y="733376"/>
                    </a:cubicBezTo>
                    <a:cubicBezTo>
                      <a:pt x="145906" y="734090"/>
                      <a:pt x="146620" y="734805"/>
                      <a:pt x="147335" y="734805"/>
                    </a:cubicBezTo>
                    <a:cubicBezTo>
                      <a:pt x="150193" y="736949"/>
                      <a:pt x="153765" y="738378"/>
                      <a:pt x="156623" y="739807"/>
                    </a:cubicBezTo>
                    <a:cubicBezTo>
                      <a:pt x="157337" y="740522"/>
                      <a:pt x="158052" y="740522"/>
                      <a:pt x="158766" y="741237"/>
                    </a:cubicBezTo>
                    <a:cubicBezTo>
                      <a:pt x="161624" y="742666"/>
                      <a:pt x="163768" y="744095"/>
                      <a:pt x="165911" y="744810"/>
                    </a:cubicBezTo>
                    <a:cubicBezTo>
                      <a:pt x="167340" y="745525"/>
                      <a:pt x="168054" y="746239"/>
                      <a:pt x="168769" y="746239"/>
                    </a:cubicBezTo>
                    <a:cubicBezTo>
                      <a:pt x="168769" y="746239"/>
                      <a:pt x="168769" y="746239"/>
                      <a:pt x="169483" y="746954"/>
                    </a:cubicBezTo>
                    <a:cubicBezTo>
                      <a:pt x="171627" y="747669"/>
                      <a:pt x="173770" y="748383"/>
                      <a:pt x="175914" y="749812"/>
                    </a:cubicBezTo>
                    <a:cubicBezTo>
                      <a:pt x="177343" y="749812"/>
                      <a:pt x="178771" y="750527"/>
                      <a:pt x="180200" y="751242"/>
                    </a:cubicBezTo>
                    <a:cubicBezTo>
                      <a:pt x="182344" y="751956"/>
                      <a:pt x="184487" y="752671"/>
                      <a:pt x="186631" y="754100"/>
                    </a:cubicBezTo>
                    <a:cubicBezTo>
                      <a:pt x="186631" y="754100"/>
                      <a:pt x="186631" y="754100"/>
                      <a:pt x="187345" y="754100"/>
                    </a:cubicBezTo>
                    <a:cubicBezTo>
                      <a:pt x="188060" y="754100"/>
                      <a:pt x="188774" y="754815"/>
                      <a:pt x="189488" y="754815"/>
                    </a:cubicBezTo>
                    <a:cubicBezTo>
                      <a:pt x="189488" y="754815"/>
                      <a:pt x="190917" y="756959"/>
                      <a:pt x="191632" y="757674"/>
                    </a:cubicBezTo>
                    <a:cubicBezTo>
                      <a:pt x="193775" y="760532"/>
                      <a:pt x="195919" y="763391"/>
                      <a:pt x="198062" y="765535"/>
                    </a:cubicBezTo>
                    <a:cubicBezTo>
                      <a:pt x="198777" y="766249"/>
                      <a:pt x="199491" y="766964"/>
                      <a:pt x="199491" y="767679"/>
                    </a:cubicBezTo>
                    <a:cubicBezTo>
                      <a:pt x="199491" y="767679"/>
                      <a:pt x="199491" y="767679"/>
                      <a:pt x="200206" y="768393"/>
                    </a:cubicBezTo>
                    <a:cubicBezTo>
                      <a:pt x="202349" y="770537"/>
                      <a:pt x="203778" y="772681"/>
                      <a:pt x="205921" y="774825"/>
                    </a:cubicBezTo>
                    <a:cubicBezTo>
                      <a:pt x="205921" y="774825"/>
                      <a:pt x="207350" y="776254"/>
                      <a:pt x="207350" y="776969"/>
                    </a:cubicBezTo>
                    <a:cubicBezTo>
                      <a:pt x="209494" y="779113"/>
                      <a:pt x="212351" y="781257"/>
                      <a:pt x="214495" y="784116"/>
                    </a:cubicBezTo>
                    <a:cubicBezTo>
                      <a:pt x="215209" y="784830"/>
                      <a:pt x="216638" y="785545"/>
                      <a:pt x="217353" y="786974"/>
                    </a:cubicBezTo>
                    <a:cubicBezTo>
                      <a:pt x="219496" y="789118"/>
                      <a:pt x="222354" y="791262"/>
                      <a:pt x="224497" y="793406"/>
                    </a:cubicBezTo>
                    <a:cubicBezTo>
                      <a:pt x="225212" y="794121"/>
                      <a:pt x="225926" y="795550"/>
                      <a:pt x="225926" y="795550"/>
                    </a:cubicBezTo>
                    <a:cubicBezTo>
                      <a:pt x="228070" y="796979"/>
                      <a:pt x="230928" y="799123"/>
                      <a:pt x="233071" y="801267"/>
                    </a:cubicBezTo>
                    <a:cubicBezTo>
                      <a:pt x="233071" y="801267"/>
                      <a:pt x="234500" y="802696"/>
                      <a:pt x="235214" y="803411"/>
                    </a:cubicBezTo>
                    <a:cubicBezTo>
                      <a:pt x="238072" y="805555"/>
                      <a:pt x="240930" y="807699"/>
                      <a:pt x="243788" y="809128"/>
                    </a:cubicBezTo>
                    <a:cubicBezTo>
                      <a:pt x="243788" y="809843"/>
                      <a:pt x="244502" y="810558"/>
                      <a:pt x="245217" y="810558"/>
                    </a:cubicBezTo>
                    <a:cubicBezTo>
                      <a:pt x="245217" y="810558"/>
                      <a:pt x="245217" y="810558"/>
                      <a:pt x="245931" y="811272"/>
                    </a:cubicBezTo>
                    <a:cubicBezTo>
                      <a:pt x="248075" y="812701"/>
                      <a:pt x="250933" y="814845"/>
                      <a:pt x="253076" y="816275"/>
                    </a:cubicBezTo>
                    <a:cubicBezTo>
                      <a:pt x="253076" y="816275"/>
                      <a:pt x="254505" y="817704"/>
                      <a:pt x="255219" y="817704"/>
                    </a:cubicBezTo>
                    <a:cubicBezTo>
                      <a:pt x="258077" y="819848"/>
                      <a:pt x="260935" y="821277"/>
                      <a:pt x="263793" y="823421"/>
                    </a:cubicBezTo>
                    <a:cubicBezTo>
                      <a:pt x="265222" y="824136"/>
                      <a:pt x="265937" y="824850"/>
                      <a:pt x="266651" y="824850"/>
                    </a:cubicBezTo>
                    <a:cubicBezTo>
                      <a:pt x="270223" y="826994"/>
                      <a:pt x="273081" y="829138"/>
                      <a:pt x="275939" y="830568"/>
                    </a:cubicBezTo>
                    <a:cubicBezTo>
                      <a:pt x="276654" y="830568"/>
                      <a:pt x="276654" y="830568"/>
                      <a:pt x="277368" y="831282"/>
                    </a:cubicBezTo>
                    <a:cubicBezTo>
                      <a:pt x="280226" y="832712"/>
                      <a:pt x="283084" y="834141"/>
                      <a:pt x="285942" y="835570"/>
                    </a:cubicBezTo>
                    <a:cubicBezTo>
                      <a:pt x="285942" y="835570"/>
                      <a:pt x="288085" y="836285"/>
                      <a:pt x="288799" y="836999"/>
                    </a:cubicBezTo>
                    <a:cubicBezTo>
                      <a:pt x="291657" y="838429"/>
                      <a:pt x="295230" y="839858"/>
                      <a:pt x="298802" y="841287"/>
                    </a:cubicBezTo>
                    <a:cubicBezTo>
                      <a:pt x="298802" y="841287"/>
                      <a:pt x="298802" y="841287"/>
                      <a:pt x="300945" y="842002"/>
                    </a:cubicBezTo>
                    <a:cubicBezTo>
                      <a:pt x="303803" y="843431"/>
                      <a:pt x="306661" y="844861"/>
                      <a:pt x="309519" y="845575"/>
                    </a:cubicBezTo>
                    <a:cubicBezTo>
                      <a:pt x="309519" y="845575"/>
                      <a:pt x="309519" y="845575"/>
                      <a:pt x="311662" y="846290"/>
                    </a:cubicBezTo>
                    <a:cubicBezTo>
                      <a:pt x="315235" y="847719"/>
                      <a:pt x="318807" y="849148"/>
                      <a:pt x="322379" y="849863"/>
                    </a:cubicBezTo>
                    <a:cubicBezTo>
                      <a:pt x="322379" y="849863"/>
                      <a:pt x="322379" y="849863"/>
                      <a:pt x="324523" y="850578"/>
                    </a:cubicBezTo>
                    <a:cubicBezTo>
                      <a:pt x="328810" y="852007"/>
                      <a:pt x="332382" y="853436"/>
                      <a:pt x="335240" y="854151"/>
                    </a:cubicBezTo>
                    <a:cubicBezTo>
                      <a:pt x="335954" y="854151"/>
                      <a:pt x="335954" y="854151"/>
                      <a:pt x="336669" y="854151"/>
                    </a:cubicBezTo>
                    <a:cubicBezTo>
                      <a:pt x="339527" y="854866"/>
                      <a:pt x="343099" y="855580"/>
                      <a:pt x="347386" y="857010"/>
                    </a:cubicBezTo>
                    <a:cubicBezTo>
                      <a:pt x="347386" y="857010"/>
                      <a:pt x="347386" y="857010"/>
                      <a:pt x="349529" y="857010"/>
                    </a:cubicBezTo>
                    <a:cubicBezTo>
                      <a:pt x="353102" y="857724"/>
                      <a:pt x="357388" y="858439"/>
                      <a:pt x="360961" y="859154"/>
                    </a:cubicBezTo>
                    <a:cubicBezTo>
                      <a:pt x="360961" y="859154"/>
                      <a:pt x="360961" y="859154"/>
                      <a:pt x="363104" y="859154"/>
                    </a:cubicBezTo>
                    <a:cubicBezTo>
                      <a:pt x="365962" y="859868"/>
                      <a:pt x="369534" y="860583"/>
                      <a:pt x="373107" y="860583"/>
                    </a:cubicBezTo>
                    <a:cubicBezTo>
                      <a:pt x="373107" y="860583"/>
                      <a:pt x="373107" y="860583"/>
                      <a:pt x="375250" y="861298"/>
                    </a:cubicBezTo>
                    <a:cubicBezTo>
                      <a:pt x="378822" y="861298"/>
                      <a:pt x="383109" y="862012"/>
                      <a:pt x="386682" y="862012"/>
                    </a:cubicBezTo>
                    <a:cubicBezTo>
                      <a:pt x="387396" y="862012"/>
                      <a:pt x="388825" y="862012"/>
                      <a:pt x="389539" y="862012"/>
                    </a:cubicBezTo>
                    <a:cubicBezTo>
                      <a:pt x="393826" y="862012"/>
                      <a:pt x="397399" y="862012"/>
                      <a:pt x="401685" y="862012"/>
                    </a:cubicBezTo>
                    <a:cubicBezTo>
                      <a:pt x="405258" y="862012"/>
                      <a:pt x="409544" y="862012"/>
                      <a:pt x="414546" y="862012"/>
                    </a:cubicBezTo>
                    <a:cubicBezTo>
                      <a:pt x="414546" y="862012"/>
                      <a:pt x="414546" y="862012"/>
                      <a:pt x="415260" y="862012"/>
                    </a:cubicBezTo>
                    <a:cubicBezTo>
                      <a:pt x="418833" y="862012"/>
                      <a:pt x="423119" y="861298"/>
                      <a:pt x="425977" y="861298"/>
                    </a:cubicBezTo>
                    <a:cubicBezTo>
                      <a:pt x="425977" y="861298"/>
                      <a:pt x="425977" y="861298"/>
                      <a:pt x="428121" y="860583"/>
                    </a:cubicBezTo>
                    <a:cubicBezTo>
                      <a:pt x="432407" y="860583"/>
                      <a:pt x="435980" y="859868"/>
                      <a:pt x="439552" y="859154"/>
                    </a:cubicBezTo>
                    <a:cubicBezTo>
                      <a:pt x="439552" y="859154"/>
                      <a:pt x="439552" y="859154"/>
                      <a:pt x="441696" y="859154"/>
                    </a:cubicBezTo>
                    <a:cubicBezTo>
                      <a:pt x="445982" y="858439"/>
                      <a:pt x="449555" y="857724"/>
                      <a:pt x="452413" y="857010"/>
                    </a:cubicBezTo>
                    <a:cubicBezTo>
                      <a:pt x="453127" y="857010"/>
                      <a:pt x="455270" y="857010"/>
                      <a:pt x="455270" y="857010"/>
                    </a:cubicBezTo>
                    <a:cubicBezTo>
                      <a:pt x="458843" y="855580"/>
                      <a:pt x="462415" y="854866"/>
                      <a:pt x="465987" y="854151"/>
                    </a:cubicBezTo>
                    <a:cubicBezTo>
                      <a:pt x="465987" y="854151"/>
                      <a:pt x="465987" y="854151"/>
                      <a:pt x="468131" y="853436"/>
                    </a:cubicBezTo>
                    <a:cubicBezTo>
                      <a:pt x="470989" y="852722"/>
                      <a:pt x="473847" y="852007"/>
                      <a:pt x="477419" y="851292"/>
                    </a:cubicBezTo>
                    <a:cubicBezTo>
                      <a:pt x="477419" y="851292"/>
                      <a:pt x="478848" y="850578"/>
                      <a:pt x="479562" y="849863"/>
                    </a:cubicBezTo>
                    <a:cubicBezTo>
                      <a:pt x="483135" y="849148"/>
                      <a:pt x="485992" y="848434"/>
                      <a:pt x="488850" y="847005"/>
                    </a:cubicBezTo>
                    <a:cubicBezTo>
                      <a:pt x="488850" y="847005"/>
                      <a:pt x="488850" y="847005"/>
                      <a:pt x="489565" y="847005"/>
                    </a:cubicBezTo>
                    <a:cubicBezTo>
                      <a:pt x="490279" y="846290"/>
                      <a:pt x="490994" y="846290"/>
                      <a:pt x="492423" y="845575"/>
                    </a:cubicBezTo>
                    <a:cubicBezTo>
                      <a:pt x="495281" y="844861"/>
                      <a:pt x="498138" y="843431"/>
                      <a:pt x="500996" y="842717"/>
                    </a:cubicBezTo>
                    <a:cubicBezTo>
                      <a:pt x="502425" y="842002"/>
                      <a:pt x="503140" y="841287"/>
                      <a:pt x="504569" y="840573"/>
                    </a:cubicBezTo>
                    <a:cubicBezTo>
                      <a:pt x="507427" y="839858"/>
                      <a:pt x="510284" y="838429"/>
                      <a:pt x="512428" y="836999"/>
                    </a:cubicBezTo>
                    <a:cubicBezTo>
                      <a:pt x="513857" y="836285"/>
                      <a:pt x="515286" y="835570"/>
                      <a:pt x="516715" y="834856"/>
                    </a:cubicBezTo>
                    <a:cubicBezTo>
                      <a:pt x="518858" y="834141"/>
                      <a:pt x="521001" y="833426"/>
                      <a:pt x="523145" y="831997"/>
                    </a:cubicBezTo>
                    <a:cubicBezTo>
                      <a:pt x="525288" y="831282"/>
                      <a:pt x="526717" y="829853"/>
                      <a:pt x="528861" y="829138"/>
                    </a:cubicBezTo>
                    <a:cubicBezTo>
                      <a:pt x="530289" y="827709"/>
                      <a:pt x="531718" y="826994"/>
                      <a:pt x="533147" y="826280"/>
                    </a:cubicBezTo>
                    <a:cubicBezTo>
                      <a:pt x="536005" y="824850"/>
                      <a:pt x="538149" y="823421"/>
                      <a:pt x="541006" y="821992"/>
                    </a:cubicBezTo>
                    <a:cubicBezTo>
                      <a:pt x="541721" y="821277"/>
                      <a:pt x="543150" y="820563"/>
                      <a:pt x="543864" y="819848"/>
                    </a:cubicBezTo>
                    <a:cubicBezTo>
                      <a:pt x="546722" y="817704"/>
                      <a:pt x="549580" y="816275"/>
                      <a:pt x="552438" y="814131"/>
                    </a:cubicBezTo>
                    <a:cubicBezTo>
                      <a:pt x="552438" y="814131"/>
                      <a:pt x="553867" y="812701"/>
                      <a:pt x="554581" y="812701"/>
                    </a:cubicBezTo>
                    <a:cubicBezTo>
                      <a:pt x="563155" y="806270"/>
                      <a:pt x="571014" y="799838"/>
                      <a:pt x="578159" y="793406"/>
                    </a:cubicBezTo>
                    <a:cubicBezTo>
                      <a:pt x="580302" y="794121"/>
                      <a:pt x="581731" y="795550"/>
                      <a:pt x="583875" y="796979"/>
                    </a:cubicBezTo>
                    <a:cubicBezTo>
                      <a:pt x="583875" y="796979"/>
                      <a:pt x="583875" y="796979"/>
                      <a:pt x="585303" y="798409"/>
                    </a:cubicBezTo>
                    <a:cubicBezTo>
                      <a:pt x="585303" y="798409"/>
                      <a:pt x="585303" y="798409"/>
                      <a:pt x="586732" y="799123"/>
                    </a:cubicBezTo>
                    <a:cubicBezTo>
                      <a:pt x="588876" y="800552"/>
                      <a:pt x="591734" y="801982"/>
                      <a:pt x="593877" y="803411"/>
                    </a:cubicBezTo>
                    <a:cubicBezTo>
                      <a:pt x="596735" y="804840"/>
                      <a:pt x="599593" y="806984"/>
                      <a:pt x="602451" y="808414"/>
                    </a:cubicBezTo>
                    <a:cubicBezTo>
                      <a:pt x="602451" y="808414"/>
                      <a:pt x="602451" y="808414"/>
                      <a:pt x="603165" y="808414"/>
                    </a:cubicBezTo>
                    <a:cubicBezTo>
                      <a:pt x="606023" y="809843"/>
                      <a:pt x="608881" y="811272"/>
                      <a:pt x="611739" y="812701"/>
                    </a:cubicBezTo>
                    <a:cubicBezTo>
                      <a:pt x="611739" y="812701"/>
                      <a:pt x="612453" y="812701"/>
                      <a:pt x="612453" y="813416"/>
                    </a:cubicBezTo>
                    <a:cubicBezTo>
                      <a:pt x="615311" y="814845"/>
                      <a:pt x="618169" y="815560"/>
                      <a:pt x="621027" y="816989"/>
                    </a:cubicBezTo>
                    <a:cubicBezTo>
                      <a:pt x="621027" y="816989"/>
                      <a:pt x="621741" y="816989"/>
                      <a:pt x="622456" y="817704"/>
                    </a:cubicBezTo>
                    <a:cubicBezTo>
                      <a:pt x="624599" y="818419"/>
                      <a:pt x="627457" y="819848"/>
                      <a:pt x="630315" y="820563"/>
                    </a:cubicBezTo>
                    <a:cubicBezTo>
                      <a:pt x="631029" y="820563"/>
                      <a:pt x="631029" y="820563"/>
                      <a:pt x="632458" y="821277"/>
                    </a:cubicBezTo>
                    <a:cubicBezTo>
                      <a:pt x="634602" y="821992"/>
                      <a:pt x="637460" y="822707"/>
                      <a:pt x="640317" y="824136"/>
                    </a:cubicBezTo>
                    <a:cubicBezTo>
                      <a:pt x="640317" y="824136"/>
                      <a:pt x="641032" y="824136"/>
                      <a:pt x="641746" y="824136"/>
                    </a:cubicBezTo>
                    <a:cubicBezTo>
                      <a:pt x="641746" y="824136"/>
                      <a:pt x="641746" y="824136"/>
                      <a:pt x="642461" y="824850"/>
                    </a:cubicBezTo>
                    <a:cubicBezTo>
                      <a:pt x="645319" y="825565"/>
                      <a:pt x="647462" y="826280"/>
                      <a:pt x="649606" y="826280"/>
                    </a:cubicBezTo>
                    <a:cubicBezTo>
                      <a:pt x="650320" y="826994"/>
                      <a:pt x="651749" y="826994"/>
                      <a:pt x="652463" y="826994"/>
                    </a:cubicBezTo>
                    <a:cubicBezTo>
                      <a:pt x="652463" y="826994"/>
                      <a:pt x="652463" y="826994"/>
                      <a:pt x="653892" y="827709"/>
                    </a:cubicBezTo>
                    <a:cubicBezTo>
                      <a:pt x="656036" y="827709"/>
                      <a:pt x="658179" y="828424"/>
                      <a:pt x="659608" y="829138"/>
                    </a:cubicBezTo>
                    <a:cubicBezTo>
                      <a:pt x="661037" y="829138"/>
                      <a:pt x="661751" y="829138"/>
                      <a:pt x="663180" y="829138"/>
                    </a:cubicBezTo>
                    <a:cubicBezTo>
                      <a:pt x="663180" y="829138"/>
                      <a:pt x="663180" y="829138"/>
                      <a:pt x="665324" y="829853"/>
                    </a:cubicBezTo>
                    <a:cubicBezTo>
                      <a:pt x="666753" y="829853"/>
                      <a:pt x="668182" y="830568"/>
                      <a:pt x="670325" y="830568"/>
                    </a:cubicBezTo>
                    <a:cubicBezTo>
                      <a:pt x="671754" y="830568"/>
                      <a:pt x="673183" y="831282"/>
                      <a:pt x="673897" y="831282"/>
                    </a:cubicBezTo>
                    <a:cubicBezTo>
                      <a:pt x="673897" y="831282"/>
                      <a:pt x="673897" y="831282"/>
                      <a:pt x="676755" y="831282"/>
                    </a:cubicBezTo>
                    <a:cubicBezTo>
                      <a:pt x="678184" y="831997"/>
                      <a:pt x="679613" y="831997"/>
                      <a:pt x="681042" y="831997"/>
                    </a:cubicBezTo>
                    <a:cubicBezTo>
                      <a:pt x="682471" y="831997"/>
                      <a:pt x="684614" y="831997"/>
                      <a:pt x="686043" y="832712"/>
                    </a:cubicBezTo>
                    <a:cubicBezTo>
                      <a:pt x="686043" y="832712"/>
                      <a:pt x="686043" y="832712"/>
                      <a:pt x="688187" y="832712"/>
                    </a:cubicBezTo>
                    <a:cubicBezTo>
                      <a:pt x="689616" y="832712"/>
                      <a:pt x="690330" y="832712"/>
                      <a:pt x="691759" y="832712"/>
                    </a:cubicBezTo>
                    <a:cubicBezTo>
                      <a:pt x="695331" y="832712"/>
                      <a:pt x="698904" y="833426"/>
                      <a:pt x="702476" y="833426"/>
                    </a:cubicBezTo>
                    <a:cubicBezTo>
                      <a:pt x="706048" y="833426"/>
                      <a:pt x="709621" y="832712"/>
                      <a:pt x="712479" y="832712"/>
                    </a:cubicBezTo>
                    <a:cubicBezTo>
                      <a:pt x="713908" y="832712"/>
                      <a:pt x="714622" y="832712"/>
                      <a:pt x="716051" y="832712"/>
                    </a:cubicBezTo>
                    <a:cubicBezTo>
                      <a:pt x="716051" y="832712"/>
                      <a:pt x="716051" y="832712"/>
                      <a:pt x="717480" y="832712"/>
                    </a:cubicBezTo>
                    <a:cubicBezTo>
                      <a:pt x="719623" y="832712"/>
                      <a:pt x="721767" y="831997"/>
                      <a:pt x="723196" y="831997"/>
                    </a:cubicBezTo>
                    <a:cubicBezTo>
                      <a:pt x="724625" y="831997"/>
                      <a:pt x="726054" y="831997"/>
                      <a:pt x="726768" y="831282"/>
                    </a:cubicBezTo>
                    <a:cubicBezTo>
                      <a:pt x="726768" y="831282"/>
                      <a:pt x="726768" y="831282"/>
                      <a:pt x="728911" y="831282"/>
                    </a:cubicBezTo>
                    <a:cubicBezTo>
                      <a:pt x="731055" y="831282"/>
                      <a:pt x="732484" y="831282"/>
                      <a:pt x="733913" y="830568"/>
                    </a:cubicBezTo>
                    <a:cubicBezTo>
                      <a:pt x="735342" y="830568"/>
                      <a:pt x="736771" y="830568"/>
                      <a:pt x="737485" y="829853"/>
                    </a:cubicBezTo>
                    <a:cubicBezTo>
                      <a:pt x="737485" y="829853"/>
                      <a:pt x="737485" y="829853"/>
                      <a:pt x="739628" y="829853"/>
                    </a:cubicBezTo>
                    <a:cubicBezTo>
                      <a:pt x="741057" y="829138"/>
                      <a:pt x="742486" y="829138"/>
                      <a:pt x="743915" y="829138"/>
                    </a:cubicBezTo>
                    <a:cubicBezTo>
                      <a:pt x="745344" y="828424"/>
                      <a:pt x="746773" y="828424"/>
                      <a:pt x="748202" y="827709"/>
                    </a:cubicBezTo>
                    <a:cubicBezTo>
                      <a:pt x="748202" y="827709"/>
                      <a:pt x="748202" y="827709"/>
                      <a:pt x="750345" y="827709"/>
                    </a:cubicBezTo>
                    <a:cubicBezTo>
                      <a:pt x="751774" y="826994"/>
                      <a:pt x="752489" y="826994"/>
                      <a:pt x="753918" y="826994"/>
                    </a:cubicBezTo>
                    <a:cubicBezTo>
                      <a:pt x="755347" y="826280"/>
                      <a:pt x="757490" y="825565"/>
                      <a:pt x="758919" y="825565"/>
                    </a:cubicBezTo>
                    <a:cubicBezTo>
                      <a:pt x="758919" y="825565"/>
                      <a:pt x="758919" y="825565"/>
                      <a:pt x="760348" y="824850"/>
                    </a:cubicBezTo>
                    <a:cubicBezTo>
                      <a:pt x="761777" y="824850"/>
                      <a:pt x="762491" y="824136"/>
                      <a:pt x="763920" y="824136"/>
                    </a:cubicBezTo>
                    <a:cubicBezTo>
                      <a:pt x="765349" y="823421"/>
                      <a:pt x="767493" y="822707"/>
                      <a:pt x="769636" y="821992"/>
                    </a:cubicBezTo>
                    <a:cubicBezTo>
                      <a:pt x="771065" y="821277"/>
                      <a:pt x="772494" y="821277"/>
                      <a:pt x="773208" y="820563"/>
                    </a:cubicBezTo>
                    <a:cubicBezTo>
                      <a:pt x="775352" y="819848"/>
                      <a:pt x="777495" y="819133"/>
                      <a:pt x="778924" y="818419"/>
                    </a:cubicBezTo>
                    <a:cubicBezTo>
                      <a:pt x="778924" y="818419"/>
                      <a:pt x="778924" y="818419"/>
                      <a:pt x="779639" y="818419"/>
                    </a:cubicBezTo>
                    <a:cubicBezTo>
                      <a:pt x="780353" y="818419"/>
                      <a:pt x="781782" y="817704"/>
                      <a:pt x="782496" y="816989"/>
                    </a:cubicBezTo>
                    <a:cubicBezTo>
                      <a:pt x="784640" y="816275"/>
                      <a:pt x="786783" y="815560"/>
                      <a:pt x="788927" y="814845"/>
                    </a:cubicBezTo>
                    <a:cubicBezTo>
                      <a:pt x="789641" y="814131"/>
                      <a:pt x="791070" y="813416"/>
                      <a:pt x="791785" y="813416"/>
                    </a:cubicBezTo>
                    <a:cubicBezTo>
                      <a:pt x="793928" y="812701"/>
                      <a:pt x="796071" y="811272"/>
                      <a:pt x="798215" y="810558"/>
                    </a:cubicBezTo>
                    <a:cubicBezTo>
                      <a:pt x="798215" y="810558"/>
                      <a:pt x="799644" y="809128"/>
                      <a:pt x="800358" y="809128"/>
                    </a:cubicBezTo>
                    <a:cubicBezTo>
                      <a:pt x="802502" y="807699"/>
                      <a:pt x="804645" y="806984"/>
                      <a:pt x="806788" y="805555"/>
                    </a:cubicBezTo>
                    <a:cubicBezTo>
                      <a:pt x="806788" y="805555"/>
                      <a:pt x="806788" y="805555"/>
                      <a:pt x="808932" y="804126"/>
                    </a:cubicBezTo>
                    <a:cubicBezTo>
                      <a:pt x="811075" y="802696"/>
                      <a:pt x="813219" y="801982"/>
                      <a:pt x="815362" y="800552"/>
                    </a:cubicBezTo>
                    <a:cubicBezTo>
                      <a:pt x="816076" y="799838"/>
                      <a:pt x="816791" y="799838"/>
                      <a:pt x="817505" y="799123"/>
                    </a:cubicBezTo>
                    <a:cubicBezTo>
                      <a:pt x="819649" y="797694"/>
                      <a:pt x="821792" y="796265"/>
                      <a:pt x="823936" y="794835"/>
                    </a:cubicBezTo>
                    <a:cubicBezTo>
                      <a:pt x="823936" y="794835"/>
                      <a:pt x="823936" y="794835"/>
                      <a:pt x="825365" y="794121"/>
                    </a:cubicBezTo>
                    <a:cubicBezTo>
                      <a:pt x="826079" y="792691"/>
                      <a:pt x="827508" y="791977"/>
                      <a:pt x="828937" y="791262"/>
                    </a:cubicBezTo>
                    <a:cubicBezTo>
                      <a:pt x="830366" y="791977"/>
                      <a:pt x="831795" y="792691"/>
                      <a:pt x="833224" y="793406"/>
                    </a:cubicBezTo>
                    <a:cubicBezTo>
                      <a:pt x="835367" y="794121"/>
                      <a:pt x="836796" y="794835"/>
                      <a:pt x="838939" y="795550"/>
                    </a:cubicBezTo>
                    <a:cubicBezTo>
                      <a:pt x="839654" y="796265"/>
                      <a:pt x="841083" y="796979"/>
                      <a:pt x="841797" y="796979"/>
                    </a:cubicBezTo>
                    <a:cubicBezTo>
                      <a:pt x="841797" y="796979"/>
                      <a:pt x="841797" y="796979"/>
                      <a:pt x="842512" y="797694"/>
                    </a:cubicBezTo>
                    <a:cubicBezTo>
                      <a:pt x="843941" y="797694"/>
                      <a:pt x="845370" y="798409"/>
                      <a:pt x="846799" y="799123"/>
                    </a:cubicBezTo>
                    <a:cubicBezTo>
                      <a:pt x="848227" y="799123"/>
                      <a:pt x="848942" y="799838"/>
                      <a:pt x="850371" y="800552"/>
                    </a:cubicBezTo>
                    <a:cubicBezTo>
                      <a:pt x="851800" y="801267"/>
                      <a:pt x="853943" y="801267"/>
                      <a:pt x="855372" y="801982"/>
                    </a:cubicBezTo>
                    <a:cubicBezTo>
                      <a:pt x="855372" y="801982"/>
                      <a:pt x="855372" y="801982"/>
                      <a:pt x="856087" y="801982"/>
                    </a:cubicBezTo>
                    <a:cubicBezTo>
                      <a:pt x="856801" y="802696"/>
                      <a:pt x="857516" y="802696"/>
                      <a:pt x="858230" y="802696"/>
                    </a:cubicBezTo>
                    <a:cubicBezTo>
                      <a:pt x="861088" y="804126"/>
                      <a:pt x="863231" y="804840"/>
                      <a:pt x="865375" y="804840"/>
                    </a:cubicBezTo>
                    <a:cubicBezTo>
                      <a:pt x="866089" y="805555"/>
                      <a:pt x="866804" y="805555"/>
                      <a:pt x="868233" y="805555"/>
                    </a:cubicBezTo>
                    <a:cubicBezTo>
                      <a:pt x="868233" y="805555"/>
                      <a:pt x="868233" y="805555"/>
                      <a:pt x="868233" y="806270"/>
                    </a:cubicBezTo>
                    <a:cubicBezTo>
                      <a:pt x="870376" y="806270"/>
                      <a:pt x="871805" y="806984"/>
                      <a:pt x="873948" y="806984"/>
                    </a:cubicBezTo>
                    <a:cubicBezTo>
                      <a:pt x="874663" y="807699"/>
                      <a:pt x="876092" y="807699"/>
                      <a:pt x="876806" y="807699"/>
                    </a:cubicBezTo>
                    <a:cubicBezTo>
                      <a:pt x="878950" y="808414"/>
                      <a:pt x="881807" y="808414"/>
                      <a:pt x="883951" y="809128"/>
                    </a:cubicBezTo>
                    <a:cubicBezTo>
                      <a:pt x="884665" y="809128"/>
                      <a:pt x="884665" y="809128"/>
                      <a:pt x="885380" y="809128"/>
                    </a:cubicBezTo>
                    <a:cubicBezTo>
                      <a:pt x="888238" y="809843"/>
                      <a:pt x="891096" y="809843"/>
                      <a:pt x="893953" y="810558"/>
                    </a:cubicBezTo>
                    <a:cubicBezTo>
                      <a:pt x="894668" y="810558"/>
                      <a:pt x="896811" y="810558"/>
                      <a:pt x="896811" y="810558"/>
                    </a:cubicBezTo>
                    <a:cubicBezTo>
                      <a:pt x="898955" y="811272"/>
                      <a:pt x="901098" y="811272"/>
                      <a:pt x="903241" y="811272"/>
                    </a:cubicBezTo>
                    <a:cubicBezTo>
                      <a:pt x="903241" y="811272"/>
                      <a:pt x="905385" y="811272"/>
                      <a:pt x="906099" y="811272"/>
                    </a:cubicBezTo>
                    <a:cubicBezTo>
                      <a:pt x="908957" y="811272"/>
                      <a:pt x="911101" y="811272"/>
                      <a:pt x="913958" y="811272"/>
                    </a:cubicBezTo>
                    <a:cubicBezTo>
                      <a:pt x="913958" y="811272"/>
                      <a:pt x="913958" y="811272"/>
                      <a:pt x="915387" y="811272"/>
                    </a:cubicBezTo>
                    <a:cubicBezTo>
                      <a:pt x="918960" y="811272"/>
                      <a:pt x="921818" y="811272"/>
                      <a:pt x="923961" y="811272"/>
                    </a:cubicBezTo>
                    <a:cubicBezTo>
                      <a:pt x="925390" y="811272"/>
                      <a:pt x="926104" y="811272"/>
                      <a:pt x="926819" y="811272"/>
                    </a:cubicBezTo>
                    <a:cubicBezTo>
                      <a:pt x="926819" y="811272"/>
                      <a:pt x="926819" y="811272"/>
                      <a:pt x="928248" y="811272"/>
                    </a:cubicBezTo>
                    <a:cubicBezTo>
                      <a:pt x="929677" y="811272"/>
                      <a:pt x="931820" y="810558"/>
                      <a:pt x="933964" y="810558"/>
                    </a:cubicBezTo>
                    <a:cubicBezTo>
                      <a:pt x="934678" y="810558"/>
                      <a:pt x="936107" y="810558"/>
                      <a:pt x="936821" y="810558"/>
                    </a:cubicBezTo>
                    <a:cubicBezTo>
                      <a:pt x="936821" y="810558"/>
                      <a:pt x="936821" y="810558"/>
                      <a:pt x="938250" y="809843"/>
                    </a:cubicBezTo>
                    <a:cubicBezTo>
                      <a:pt x="939679" y="809843"/>
                      <a:pt x="941823" y="809843"/>
                      <a:pt x="943252" y="809128"/>
                    </a:cubicBezTo>
                    <a:cubicBezTo>
                      <a:pt x="944681" y="809128"/>
                      <a:pt x="945395" y="809128"/>
                      <a:pt x="946824" y="809128"/>
                    </a:cubicBezTo>
                    <a:cubicBezTo>
                      <a:pt x="946824" y="809128"/>
                      <a:pt x="946824" y="809128"/>
                      <a:pt x="948253" y="808414"/>
                    </a:cubicBezTo>
                    <a:cubicBezTo>
                      <a:pt x="949682" y="808414"/>
                      <a:pt x="951111" y="808414"/>
                      <a:pt x="952540" y="807699"/>
                    </a:cubicBezTo>
                    <a:cubicBezTo>
                      <a:pt x="953969" y="807699"/>
                      <a:pt x="954683" y="807699"/>
                      <a:pt x="956112" y="806984"/>
                    </a:cubicBezTo>
                    <a:cubicBezTo>
                      <a:pt x="956112" y="806984"/>
                      <a:pt x="956112" y="806984"/>
                      <a:pt x="956827" y="806984"/>
                    </a:cubicBezTo>
                    <a:cubicBezTo>
                      <a:pt x="958255" y="806270"/>
                      <a:pt x="960399" y="806270"/>
                      <a:pt x="961828" y="805555"/>
                    </a:cubicBezTo>
                    <a:cubicBezTo>
                      <a:pt x="963257" y="805555"/>
                      <a:pt x="964686" y="804840"/>
                      <a:pt x="965400" y="804840"/>
                    </a:cubicBezTo>
                    <a:cubicBezTo>
                      <a:pt x="967544" y="804126"/>
                      <a:pt x="968972" y="804126"/>
                      <a:pt x="970401" y="803411"/>
                    </a:cubicBezTo>
                    <a:cubicBezTo>
                      <a:pt x="971830" y="802696"/>
                      <a:pt x="973259" y="802696"/>
                      <a:pt x="974688" y="801982"/>
                    </a:cubicBezTo>
                    <a:cubicBezTo>
                      <a:pt x="976117" y="801267"/>
                      <a:pt x="978261" y="801267"/>
                      <a:pt x="979689" y="800552"/>
                    </a:cubicBezTo>
                    <a:cubicBezTo>
                      <a:pt x="981118" y="799838"/>
                      <a:pt x="981833" y="799123"/>
                      <a:pt x="983262" y="799123"/>
                    </a:cubicBezTo>
                    <a:cubicBezTo>
                      <a:pt x="984691" y="798409"/>
                      <a:pt x="986834" y="797694"/>
                      <a:pt x="988263" y="796979"/>
                    </a:cubicBezTo>
                    <a:cubicBezTo>
                      <a:pt x="989692" y="796265"/>
                      <a:pt x="990407" y="796265"/>
                      <a:pt x="991835" y="795550"/>
                    </a:cubicBezTo>
                    <a:cubicBezTo>
                      <a:pt x="993264" y="794835"/>
                      <a:pt x="994693" y="794121"/>
                      <a:pt x="996837" y="793406"/>
                    </a:cubicBezTo>
                    <a:cubicBezTo>
                      <a:pt x="997551" y="792691"/>
                      <a:pt x="998980" y="791977"/>
                      <a:pt x="1000409" y="791977"/>
                    </a:cubicBezTo>
                    <a:cubicBezTo>
                      <a:pt x="1001838" y="791262"/>
                      <a:pt x="1003267" y="790547"/>
                      <a:pt x="1004696" y="789118"/>
                    </a:cubicBezTo>
                    <a:cubicBezTo>
                      <a:pt x="1006125" y="788403"/>
                      <a:pt x="1007554" y="788403"/>
                      <a:pt x="1008268" y="787689"/>
                    </a:cubicBezTo>
                    <a:cubicBezTo>
                      <a:pt x="1009697" y="786974"/>
                      <a:pt x="1011126" y="785545"/>
                      <a:pt x="1012555" y="784830"/>
                    </a:cubicBezTo>
                    <a:cubicBezTo>
                      <a:pt x="1012555" y="784830"/>
                      <a:pt x="1012555" y="784830"/>
                      <a:pt x="1013269" y="784830"/>
                    </a:cubicBezTo>
                    <a:cubicBezTo>
                      <a:pt x="1013984" y="784116"/>
                      <a:pt x="1015413" y="783401"/>
                      <a:pt x="1016127" y="782686"/>
                    </a:cubicBezTo>
                    <a:cubicBezTo>
                      <a:pt x="1017556" y="781972"/>
                      <a:pt x="1018985" y="781257"/>
                      <a:pt x="1020414" y="780542"/>
                    </a:cubicBezTo>
                    <a:cubicBezTo>
                      <a:pt x="1020414" y="780542"/>
                      <a:pt x="1020414" y="780542"/>
                      <a:pt x="1021129" y="779828"/>
                    </a:cubicBezTo>
                    <a:cubicBezTo>
                      <a:pt x="1021843" y="779113"/>
                      <a:pt x="1022558" y="778398"/>
                      <a:pt x="1023986" y="777684"/>
                    </a:cubicBezTo>
                    <a:cubicBezTo>
                      <a:pt x="1025415" y="776969"/>
                      <a:pt x="1026130" y="776254"/>
                      <a:pt x="1027559" y="775540"/>
                    </a:cubicBezTo>
                    <a:cubicBezTo>
                      <a:pt x="1027559" y="775540"/>
                      <a:pt x="1027559" y="775540"/>
                      <a:pt x="1028988" y="774110"/>
                    </a:cubicBezTo>
                    <a:cubicBezTo>
                      <a:pt x="1029702" y="774110"/>
                      <a:pt x="1030417" y="773396"/>
                      <a:pt x="1031131" y="772681"/>
                    </a:cubicBezTo>
                    <a:cubicBezTo>
                      <a:pt x="1032560" y="771967"/>
                      <a:pt x="1033989" y="770537"/>
                      <a:pt x="1035418" y="769108"/>
                    </a:cubicBezTo>
                    <a:cubicBezTo>
                      <a:pt x="1035418" y="769108"/>
                      <a:pt x="1035418" y="769108"/>
                      <a:pt x="1056138" y="769108"/>
                    </a:cubicBezTo>
                    <a:cubicBezTo>
                      <a:pt x="1149018" y="769108"/>
                      <a:pt x="1230468" y="706934"/>
                      <a:pt x="1254045" y="617603"/>
                    </a:cubicBezTo>
                    <a:cubicBezTo>
                      <a:pt x="1254759" y="614029"/>
                      <a:pt x="1255474" y="611171"/>
                      <a:pt x="1256188" y="607598"/>
                    </a:cubicBezTo>
                    <a:cubicBezTo>
                      <a:pt x="1258332" y="597592"/>
                      <a:pt x="1259761" y="587587"/>
                      <a:pt x="1260475" y="576868"/>
                    </a:cubicBezTo>
                    <a:cubicBezTo>
                      <a:pt x="1260475" y="573294"/>
                      <a:pt x="1260475" y="570436"/>
                      <a:pt x="1260475" y="566863"/>
                    </a:cubicBezTo>
                    <a:cubicBezTo>
                      <a:pt x="1260475" y="551855"/>
                      <a:pt x="1259046" y="536133"/>
                      <a:pt x="1255474" y="521840"/>
                    </a:cubicBezTo>
                    <a:cubicBezTo>
                      <a:pt x="1251187" y="503259"/>
                      <a:pt x="1244042" y="485393"/>
                      <a:pt x="1234754" y="468241"/>
                    </a:cubicBezTo>
                    <a:cubicBezTo>
                      <a:pt x="1229753" y="458951"/>
                      <a:pt x="1224037" y="450375"/>
                      <a:pt x="1216893" y="441799"/>
                    </a:cubicBezTo>
                    <a:cubicBezTo>
                      <a:pt x="1211177" y="434653"/>
                      <a:pt x="1204747" y="427506"/>
                      <a:pt x="1198317" y="421074"/>
                    </a:cubicBezTo>
                    <a:cubicBezTo>
                      <a:pt x="1195459" y="418216"/>
                      <a:pt x="1192601" y="416072"/>
                      <a:pt x="1190457" y="413928"/>
                    </a:cubicBezTo>
                    <a:cubicBezTo>
                      <a:pt x="1186171" y="410355"/>
                      <a:pt x="1181884" y="406782"/>
                      <a:pt x="1177597" y="403208"/>
                    </a:cubicBezTo>
                    <a:cubicBezTo>
                      <a:pt x="1171881" y="399635"/>
                      <a:pt x="1166880" y="396062"/>
                      <a:pt x="1161879" y="393203"/>
                    </a:cubicBezTo>
                    <a:cubicBezTo>
                      <a:pt x="1161164" y="392489"/>
                      <a:pt x="1159735" y="392489"/>
                      <a:pt x="1159021" y="391774"/>
                    </a:cubicBezTo>
                    <a:cubicBezTo>
                      <a:pt x="1154734" y="388915"/>
                      <a:pt x="1149733" y="386771"/>
                      <a:pt x="1145446" y="384627"/>
                    </a:cubicBezTo>
                    <a:cubicBezTo>
                      <a:pt x="1144731" y="383913"/>
                      <a:pt x="1144731" y="383913"/>
                      <a:pt x="1144017" y="383913"/>
                    </a:cubicBezTo>
                    <a:cubicBezTo>
                      <a:pt x="1133300" y="378910"/>
                      <a:pt x="1121868" y="374622"/>
                      <a:pt x="1109723" y="371049"/>
                    </a:cubicBezTo>
                    <a:cubicBezTo>
                      <a:pt x="1080429" y="322453"/>
                      <a:pt x="1031131" y="289579"/>
                      <a:pt x="974688" y="281718"/>
                    </a:cubicBezTo>
                    <a:cubicBezTo>
                      <a:pt x="967544" y="238125"/>
                      <a:pt x="947538" y="198104"/>
                      <a:pt x="916102" y="166660"/>
                    </a:cubicBezTo>
                    <a:cubicBezTo>
                      <a:pt x="876806" y="128784"/>
                      <a:pt x="826079" y="107344"/>
                      <a:pt x="771779" y="107344"/>
                    </a:cubicBezTo>
                    <a:cubicBezTo>
                      <a:pt x="742486" y="107344"/>
                      <a:pt x="713908" y="113776"/>
                      <a:pt x="687472" y="125925"/>
                    </a:cubicBezTo>
                    <a:cubicBezTo>
                      <a:pt x="636031" y="65180"/>
                      <a:pt x="560297" y="30162"/>
                      <a:pt x="479562" y="30162"/>
                    </a:cubicBezTo>
                    <a:close/>
                    <a:moveTo>
                      <a:pt x="480479" y="0"/>
                    </a:moveTo>
                    <a:cubicBezTo>
                      <a:pt x="561868" y="0"/>
                      <a:pt x="639687" y="32067"/>
                      <a:pt x="696088" y="89788"/>
                    </a:cubicBezTo>
                    <a:cubicBezTo>
                      <a:pt x="721076" y="81237"/>
                      <a:pt x="746778" y="76961"/>
                      <a:pt x="772479" y="76961"/>
                    </a:cubicBezTo>
                    <a:cubicBezTo>
                      <a:pt x="835306" y="76961"/>
                      <a:pt x="893849" y="101189"/>
                      <a:pt x="938113" y="145371"/>
                    </a:cubicBezTo>
                    <a:cubicBezTo>
                      <a:pt x="969526" y="176012"/>
                      <a:pt x="990944" y="213780"/>
                      <a:pt x="1001653" y="255111"/>
                    </a:cubicBezTo>
                    <a:cubicBezTo>
                      <a:pt x="1054484" y="268650"/>
                      <a:pt x="1100176" y="300005"/>
                      <a:pt x="1130876" y="344898"/>
                    </a:cubicBezTo>
                    <a:cubicBezTo>
                      <a:pt x="1139443" y="347749"/>
                      <a:pt x="1148724" y="351312"/>
                      <a:pt x="1157291" y="355587"/>
                    </a:cubicBezTo>
                    <a:cubicBezTo>
                      <a:pt x="1158005" y="355587"/>
                      <a:pt x="1158719" y="355587"/>
                      <a:pt x="1159433" y="356300"/>
                    </a:cubicBezTo>
                    <a:cubicBezTo>
                      <a:pt x="1164431" y="358438"/>
                      <a:pt x="1169428" y="361288"/>
                      <a:pt x="1175140" y="364851"/>
                    </a:cubicBezTo>
                    <a:cubicBezTo>
                      <a:pt x="1176567" y="365564"/>
                      <a:pt x="1177281" y="365564"/>
                      <a:pt x="1177995" y="366276"/>
                    </a:cubicBezTo>
                    <a:cubicBezTo>
                      <a:pt x="1184421" y="369839"/>
                      <a:pt x="1190132" y="374115"/>
                      <a:pt x="1196558" y="378391"/>
                    </a:cubicBezTo>
                    <a:cubicBezTo>
                      <a:pt x="1201555" y="381954"/>
                      <a:pt x="1206553" y="386229"/>
                      <a:pt x="1211550" y="390505"/>
                    </a:cubicBezTo>
                    <a:cubicBezTo>
                      <a:pt x="1214406" y="392643"/>
                      <a:pt x="1217262" y="395493"/>
                      <a:pt x="1220118" y="398343"/>
                    </a:cubicBezTo>
                    <a:cubicBezTo>
                      <a:pt x="1227971" y="406182"/>
                      <a:pt x="1235824" y="414021"/>
                      <a:pt x="1242250" y="422572"/>
                    </a:cubicBezTo>
                    <a:cubicBezTo>
                      <a:pt x="1250103" y="431836"/>
                      <a:pt x="1256528" y="442525"/>
                      <a:pt x="1262954" y="453214"/>
                    </a:cubicBezTo>
                    <a:cubicBezTo>
                      <a:pt x="1273663" y="472454"/>
                      <a:pt x="1281516" y="493119"/>
                      <a:pt x="1286514" y="514497"/>
                    </a:cubicBezTo>
                    <a:cubicBezTo>
                      <a:pt x="1290083" y="531600"/>
                      <a:pt x="1292225" y="548702"/>
                      <a:pt x="1292225" y="566517"/>
                    </a:cubicBezTo>
                    <a:cubicBezTo>
                      <a:pt x="1292225" y="570080"/>
                      <a:pt x="1292225" y="574356"/>
                      <a:pt x="1292225" y="578631"/>
                    </a:cubicBezTo>
                    <a:cubicBezTo>
                      <a:pt x="1291511" y="590033"/>
                      <a:pt x="1290083" y="602147"/>
                      <a:pt x="1287228" y="613549"/>
                    </a:cubicBezTo>
                    <a:cubicBezTo>
                      <a:pt x="1286514" y="617112"/>
                      <a:pt x="1285800" y="621387"/>
                      <a:pt x="1285086" y="624950"/>
                    </a:cubicBezTo>
                    <a:cubicBezTo>
                      <a:pt x="1257956" y="727565"/>
                      <a:pt x="1163717" y="799537"/>
                      <a:pt x="1056626" y="799537"/>
                    </a:cubicBezTo>
                    <a:cubicBezTo>
                      <a:pt x="1056626" y="799537"/>
                      <a:pt x="1056626" y="799537"/>
                      <a:pt x="1046631" y="799537"/>
                    </a:cubicBezTo>
                    <a:cubicBezTo>
                      <a:pt x="1045203" y="800962"/>
                      <a:pt x="1043775" y="801675"/>
                      <a:pt x="1042347" y="803100"/>
                    </a:cubicBezTo>
                    <a:cubicBezTo>
                      <a:pt x="1040920" y="803813"/>
                      <a:pt x="1039492" y="804525"/>
                      <a:pt x="1038778" y="805238"/>
                    </a:cubicBezTo>
                    <a:cubicBezTo>
                      <a:pt x="1038778" y="805238"/>
                      <a:pt x="1038778" y="805238"/>
                      <a:pt x="1038064" y="805951"/>
                    </a:cubicBezTo>
                    <a:cubicBezTo>
                      <a:pt x="1036636" y="806663"/>
                      <a:pt x="1034494" y="807376"/>
                      <a:pt x="1033066" y="808801"/>
                    </a:cubicBezTo>
                    <a:cubicBezTo>
                      <a:pt x="1031638" y="809514"/>
                      <a:pt x="1030924" y="810226"/>
                      <a:pt x="1029497" y="810939"/>
                    </a:cubicBezTo>
                    <a:cubicBezTo>
                      <a:pt x="1029497" y="810939"/>
                      <a:pt x="1029497" y="810939"/>
                      <a:pt x="1028783" y="810939"/>
                    </a:cubicBezTo>
                    <a:cubicBezTo>
                      <a:pt x="1027355" y="811651"/>
                      <a:pt x="1025927" y="813077"/>
                      <a:pt x="1024499" y="813789"/>
                    </a:cubicBezTo>
                    <a:cubicBezTo>
                      <a:pt x="1023071" y="814502"/>
                      <a:pt x="1021643" y="815214"/>
                      <a:pt x="1020215" y="815927"/>
                    </a:cubicBezTo>
                    <a:cubicBezTo>
                      <a:pt x="1019501" y="815927"/>
                      <a:pt x="1019501" y="815927"/>
                      <a:pt x="1019501" y="815927"/>
                    </a:cubicBezTo>
                    <a:cubicBezTo>
                      <a:pt x="1018074" y="817352"/>
                      <a:pt x="1016646" y="818065"/>
                      <a:pt x="1014504" y="818777"/>
                    </a:cubicBezTo>
                    <a:cubicBezTo>
                      <a:pt x="1013076" y="819490"/>
                      <a:pt x="1011648" y="820203"/>
                      <a:pt x="1010220" y="820915"/>
                    </a:cubicBezTo>
                    <a:cubicBezTo>
                      <a:pt x="1008792" y="821628"/>
                      <a:pt x="1006651" y="822340"/>
                      <a:pt x="1005223" y="823053"/>
                    </a:cubicBezTo>
                    <a:cubicBezTo>
                      <a:pt x="1003795" y="823766"/>
                      <a:pt x="1002367" y="824478"/>
                      <a:pt x="1000225" y="825191"/>
                    </a:cubicBezTo>
                    <a:cubicBezTo>
                      <a:pt x="998797" y="825903"/>
                      <a:pt x="996656" y="826616"/>
                      <a:pt x="995228" y="827329"/>
                    </a:cubicBezTo>
                    <a:cubicBezTo>
                      <a:pt x="993800" y="828041"/>
                      <a:pt x="992372" y="828754"/>
                      <a:pt x="990230" y="828754"/>
                    </a:cubicBezTo>
                    <a:cubicBezTo>
                      <a:pt x="988802" y="829466"/>
                      <a:pt x="986660" y="830179"/>
                      <a:pt x="985233" y="830892"/>
                    </a:cubicBezTo>
                    <a:cubicBezTo>
                      <a:pt x="983091" y="831604"/>
                      <a:pt x="981663" y="831604"/>
                      <a:pt x="980235" y="832317"/>
                    </a:cubicBezTo>
                    <a:cubicBezTo>
                      <a:pt x="978807" y="833029"/>
                      <a:pt x="976665" y="833742"/>
                      <a:pt x="974523" y="833742"/>
                    </a:cubicBezTo>
                    <a:cubicBezTo>
                      <a:pt x="973096" y="834455"/>
                      <a:pt x="971668" y="834455"/>
                      <a:pt x="970240" y="835167"/>
                    </a:cubicBezTo>
                    <a:cubicBezTo>
                      <a:pt x="968098" y="835880"/>
                      <a:pt x="965956" y="835880"/>
                      <a:pt x="963814" y="836592"/>
                    </a:cubicBezTo>
                    <a:cubicBezTo>
                      <a:pt x="963814" y="836592"/>
                      <a:pt x="963814" y="836592"/>
                      <a:pt x="963101" y="836592"/>
                    </a:cubicBezTo>
                    <a:cubicBezTo>
                      <a:pt x="961673" y="837305"/>
                      <a:pt x="960245" y="837305"/>
                      <a:pt x="959531" y="837305"/>
                    </a:cubicBezTo>
                    <a:cubicBezTo>
                      <a:pt x="957389" y="838018"/>
                      <a:pt x="955247" y="838018"/>
                      <a:pt x="953819" y="838730"/>
                    </a:cubicBezTo>
                    <a:cubicBezTo>
                      <a:pt x="953819" y="838730"/>
                      <a:pt x="953819" y="838730"/>
                      <a:pt x="952391" y="838730"/>
                    </a:cubicBezTo>
                    <a:cubicBezTo>
                      <a:pt x="950964" y="838730"/>
                      <a:pt x="949536" y="839443"/>
                      <a:pt x="948108" y="839443"/>
                    </a:cubicBezTo>
                    <a:cubicBezTo>
                      <a:pt x="946680" y="839443"/>
                      <a:pt x="944538" y="840155"/>
                      <a:pt x="942396" y="840155"/>
                    </a:cubicBezTo>
                    <a:cubicBezTo>
                      <a:pt x="942396" y="840155"/>
                      <a:pt x="942396" y="840155"/>
                      <a:pt x="941682" y="840155"/>
                    </a:cubicBezTo>
                    <a:cubicBezTo>
                      <a:pt x="940255" y="840155"/>
                      <a:pt x="938827" y="840868"/>
                      <a:pt x="937399" y="840868"/>
                    </a:cubicBezTo>
                    <a:cubicBezTo>
                      <a:pt x="935257" y="840868"/>
                      <a:pt x="933115" y="840868"/>
                      <a:pt x="930973" y="841581"/>
                    </a:cubicBezTo>
                    <a:cubicBezTo>
                      <a:pt x="930973" y="841581"/>
                      <a:pt x="930973" y="841581"/>
                      <a:pt x="930259" y="841581"/>
                    </a:cubicBezTo>
                    <a:cubicBezTo>
                      <a:pt x="928832" y="841581"/>
                      <a:pt x="927404" y="841581"/>
                      <a:pt x="926690" y="841581"/>
                    </a:cubicBezTo>
                    <a:cubicBezTo>
                      <a:pt x="923120" y="841581"/>
                      <a:pt x="919550" y="841581"/>
                      <a:pt x="915981" y="841581"/>
                    </a:cubicBezTo>
                    <a:cubicBezTo>
                      <a:pt x="915267" y="841581"/>
                      <a:pt x="914553" y="841581"/>
                      <a:pt x="914553" y="841581"/>
                    </a:cubicBezTo>
                    <a:cubicBezTo>
                      <a:pt x="911697" y="841581"/>
                      <a:pt x="908127" y="841581"/>
                      <a:pt x="905272" y="841581"/>
                    </a:cubicBezTo>
                    <a:cubicBezTo>
                      <a:pt x="903844" y="841581"/>
                      <a:pt x="901702" y="841581"/>
                      <a:pt x="901702" y="841581"/>
                    </a:cubicBezTo>
                    <a:cubicBezTo>
                      <a:pt x="899560" y="841581"/>
                      <a:pt x="896704" y="840868"/>
                      <a:pt x="894563" y="840868"/>
                    </a:cubicBezTo>
                    <a:cubicBezTo>
                      <a:pt x="894563" y="840868"/>
                      <a:pt x="891707" y="840868"/>
                      <a:pt x="890993" y="840868"/>
                    </a:cubicBezTo>
                    <a:cubicBezTo>
                      <a:pt x="887423" y="840155"/>
                      <a:pt x="884567" y="840155"/>
                      <a:pt x="880998" y="839443"/>
                    </a:cubicBezTo>
                    <a:cubicBezTo>
                      <a:pt x="880284" y="839443"/>
                      <a:pt x="880284" y="839443"/>
                      <a:pt x="879570" y="838730"/>
                    </a:cubicBezTo>
                    <a:cubicBezTo>
                      <a:pt x="876714" y="838730"/>
                      <a:pt x="873858" y="838018"/>
                      <a:pt x="871717" y="837305"/>
                    </a:cubicBezTo>
                    <a:cubicBezTo>
                      <a:pt x="870289" y="837305"/>
                      <a:pt x="869575" y="837305"/>
                      <a:pt x="868861" y="837305"/>
                    </a:cubicBezTo>
                    <a:cubicBezTo>
                      <a:pt x="868861" y="837305"/>
                      <a:pt x="868861" y="837305"/>
                      <a:pt x="868147" y="836592"/>
                    </a:cubicBezTo>
                    <a:cubicBezTo>
                      <a:pt x="866005" y="836592"/>
                      <a:pt x="864577" y="835880"/>
                      <a:pt x="862435" y="835167"/>
                    </a:cubicBezTo>
                    <a:cubicBezTo>
                      <a:pt x="862435" y="835167"/>
                      <a:pt x="862435" y="835167"/>
                      <a:pt x="861722" y="835167"/>
                    </a:cubicBezTo>
                    <a:cubicBezTo>
                      <a:pt x="861008" y="835167"/>
                      <a:pt x="859580" y="834455"/>
                      <a:pt x="858866" y="834455"/>
                    </a:cubicBezTo>
                    <a:cubicBezTo>
                      <a:pt x="855296" y="833742"/>
                      <a:pt x="852440" y="833029"/>
                      <a:pt x="849585" y="832317"/>
                    </a:cubicBezTo>
                    <a:cubicBezTo>
                      <a:pt x="848871" y="831604"/>
                      <a:pt x="847443" y="831604"/>
                      <a:pt x="846729" y="830892"/>
                    </a:cubicBezTo>
                    <a:cubicBezTo>
                      <a:pt x="846729" y="830892"/>
                      <a:pt x="846729" y="830892"/>
                      <a:pt x="846015" y="830892"/>
                    </a:cubicBezTo>
                    <a:cubicBezTo>
                      <a:pt x="843873" y="830179"/>
                      <a:pt x="842445" y="829466"/>
                      <a:pt x="840303" y="828754"/>
                    </a:cubicBezTo>
                    <a:cubicBezTo>
                      <a:pt x="838876" y="828754"/>
                      <a:pt x="837448" y="828041"/>
                      <a:pt x="836020" y="827329"/>
                    </a:cubicBezTo>
                    <a:cubicBezTo>
                      <a:pt x="834592" y="826616"/>
                      <a:pt x="833878" y="826616"/>
                      <a:pt x="832450" y="825903"/>
                    </a:cubicBezTo>
                    <a:cubicBezTo>
                      <a:pt x="830308" y="827329"/>
                      <a:pt x="828167" y="828754"/>
                      <a:pt x="825311" y="830179"/>
                    </a:cubicBezTo>
                    <a:cubicBezTo>
                      <a:pt x="825311" y="830179"/>
                      <a:pt x="825311" y="830179"/>
                      <a:pt x="823169" y="831604"/>
                    </a:cubicBezTo>
                    <a:cubicBezTo>
                      <a:pt x="820313" y="833029"/>
                      <a:pt x="818171" y="834455"/>
                      <a:pt x="815316" y="835880"/>
                    </a:cubicBezTo>
                    <a:cubicBezTo>
                      <a:pt x="814602" y="835880"/>
                      <a:pt x="813174" y="837305"/>
                      <a:pt x="813174" y="837305"/>
                    </a:cubicBezTo>
                    <a:cubicBezTo>
                      <a:pt x="810318" y="838730"/>
                      <a:pt x="807462" y="839443"/>
                      <a:pt x="805321" y="840868"/>
                    </a:cubicBezTo>
                    <a:cubicBezTo>
                      <a:pt x="804607" y="840868"/>
                      <a:pt x="803179" y="841581"/>
                      <a:pt x="802465" y="842293"/>
                    </a:cubicBezTo>
                    <a:cubicBezTo>
                      <a:pt x="799609" y="843718"/>
                      <a:pt x="797467" y="844431"/>
                      <a:pt x="795325" y="845144"/>
                    </a:cubicBezTo>
                    <a:cubicBezTo>
                      <a:pt x="793898" y="845856"/>
                      <a:pt x="793184" y="845856"/>
                      <a:pt x="791756" y="846569"/>
                    </a:cubicBezTo>
                    <a:cubicBezTo>
                      <a:pt x="791756" y="846569"/>
                      <a:pt x="791756" y="846569"/>
                      <a:pt x="791042" y="846569"/>
                    </a:cubicBezTo>
                    <a:cubicBezTo>
                      <a:pt x="789614" y="847281"/>
                      <a:pt x="786758" y="848707"/>
                      <a:pt x="784616" y="849419"/>
                    </a:cubicBezTo>
                    <a:cubicBezTo>
                      <a:pt x="783189" y="850132"/>
                      <a:pt x="781761" y="850132"/>
                      <a:pt x="780333" y="850844"/>
                    </a:cubicBezTo>
                    <a:cubicBezTo>
                      <a:pt x="778191" y="851557"/>
                      <a:pt x="776049" y="852270"/>
                      <a:pt x="773193" y="852982"/>
                    </a:cubicBezTo>
                    <a:cubicBezTo>
                      <a:pt x="772479" y="852982"/>
                      <a:pt x="771052" y="853695"/>
                      <a:pt x="769624" y="854407"/>
                    </a:cubicBezTo>
                    <a:cubicBezTo>
                      <a:pt x="769624" y="854407"/>
                      <a:pt x="769624" y="854407"/>
                      <a:pt x="768196" y="854407"/>
                    </a:cubicBezTo>
                    <a:cubicBezTo>
                      <a:pt x="766054" y="855120"/>
                      <a:pt x="763912" y="855833"/>
                      <a:pt x="762484" y="855833"/>
                    </a:cubicBezTo>
                    <a:cubicBezTo>
                      <a:pt x="761056" y="856545"/>
                      <a:pt x="759629" y="856545"/>
                      <a:pt x="758201" y="857258"/>
                    </a:cubicBezTo>
                    <a:cubicBezTo>
                      <a:pt x="758201" y="857258"/>
                      <a:pt x="758201" y="857258"/>
                      <a:pt x="756059" y="857258"/>
                    </a:cubicBezTo>
                    <a:cubicBezTo>
                      <a:pt x="754631" y="857970"/>
                      <a:pt x="752489" y="857970"/>
                      <a:pt x="751061" y="858683"/>
                    </a:cubicBezTo>
                    <a:cubicBezTo>
                      <a:pt x="748920" y="858683"/>
                      <a:pt x="747492" y="859396"/>
                      <a:pt x="746064" y="859396"/>
                    </a:cubicBezTo>
                    <a:cubicBezTo>
                      <a:pt x="746064" y="859396"/>
                      <a:pt x="746064" y="859396"/>
                      <a:pt x="743922" y="860108"/>
                    </a:cubicBezTo>
                    <a:cubicBezTo>
                      <a:pt x="742494" y="860108"/>
                      <a:pt x="741066" y="860108"/>
                      <a:pt x="738924" y="860821"/>
                    </a:cubicBezTo>
                    <a:cubicBezTo>
                      <a:pt x="737497" y="860821"/>
                      <a:pt x="735355" y="860821"/>
                      <a:pt x="733927" y="861533"/>
                    </a:cubicBezTo>
                    <a:cubicBezTo>
                      <a:pt x="733927" y="861533"/>
                      <a:pt x="733927" y="861533"/>
                      <a:pt x="731785" y="861533"/>
                    </a:cubicBezTo>
                    <a:cubicBezTo>
                      <a:pt x="730357" y="861533"/>
                      <a:pt x="728929" y="862246"/>
                      <a:pt x="727501" y="862246"/>
                    </a:cubicBezTo>
                    <a:cubicBezTo>
                      <a:pt x="724646" y="862246"/>
                      <a:pt x="722504" y="862246"/>
                      <a:pt x="720362" y="862959"/>
                    </a:cubicBezTo>
                    <a:cubicBezTo>
                      <a:pt x="720362" y="862959"/>
                      <a:pt x="720362" y="862959"/>
                      <a:pt x="718934" y="862959"/>
                    </a:cubicBezTo>
                    <a:cubicBezTo>
                      <a:pt x="717506" y="862959"/>
                      <a:pt x="716078" y="862959"/>
                      <a:pt x="715365" y="862959"/>
                    </a:cubicBezTo>
                    <a:cubicBezTo>
                      <a:pt x="711081" y="862959"/>
                      <a:pt x="706797" y="863671"/>
                      <a:pt x="703228" y="863671"/>
                    </a:cubicBezTo>
                    <a:cubicBezTo>
                      <a:pt x="698944" y="863671"/>
                      <a:pt x="694660" y="862959"/>
                      <a:pt x="690377" y="862959"/>
                    </a:cubicBezTo>
                    <a:cubicBezTo>
                      <a:pt x="688949" y="862959"/>
                      <a:pt x="688235" y="862959"/>
                      <a:pt x="686807" y="862959"/>
                    </a:cubicBezTo>
                    <a:cubicBezTo>
                      <a:pt x="686807" y="862959"/>
                      <a:pt x="686807" y="862959"/>
                      <a:pt x="684665" y="862246"/>
                    </a:cubicBezTo>
                    <a:cubicBezTo>
                      <a:pt x="682523" y="862246"/>
                      <a:pt x="680382" y="862246"/>
                      <a:pt x="678240" y="862246"/>
                    </a:cubicBezTo>
                    <a:cubicBezTo>
                      <a:pt x="676812" y="862246"/>
                      <a:pt x="674670" y="861533"/>
                      <a:pt x="673242" y="861533"/>
                    </a:cubicBezTo>
                    <a:cubicBezTo>
                      <a:pt x="673242" y="861533"/>
                      <a:pt x="673242" y="861533"/>
                      <a:pt x="671100" y="861533"/>
                    </a:cubicBezTo>
                    <a:cubicBezTo>
                      <a:pt x="669673" y="860821"/>
                      <a:pt x="668245" y="860821"/>
                      <a:pt x="666103" y="860821"/>
                    </a:cubicBezTo>
                    <a:cubicBezTo>
                      <a:pt x="663961" y="860108"/>
                      <a:pt x="661819" y="860108"/>
                      <a:pt x="660391" y="859396"/>
                    </a:cubicBezTo>
                    <a:cubicBezTo>
                      <a:pt x="660391" y="859396"/>
                      <a:pt x="660391" y="859396"/>
                      <a:pt x="658250" y="859396"/>
                    </a:cubicBezTo>
                    <a:cubicBezTo>
                      <a:pt x="656822" y="858683"/>
                      <a:pt x="656108" y="858683"/>
                      <a:pt x="654680" y="858683"/>
                    </a:cubicBezTo>
                    <a:cubicBezTo>
                      <a:pt x="651824" y="857970"/>
                      <a:pt x="649682" y="857258"/>
                      <a:pt x="647541" y="856545"/>
                    </a:cubicBezTo>
                    <a:cubicBezTo>
                      <a:pt x="647541" y="856545"/>
                      <a:pt x="647541" y="856545"/>
                      <a:pt x="646113" y="856545"/>
                    </a:cubicBezTo>
                    <a:cubicBezTo>
                      <a:pt x="644685" y="856545"/>
                      <a:pt x="643971" y="855833"/>
                      <a:pt x="642543" y="855833"/>
                    </a:cubicBezTo>
                    <a:cubicBezTo>
                      <a:pt x="640401" y="855120"/>
                      <a:pt x="637545" y="854407"/>
                      <a:pt x="634690" y="853695"/>
                    </a:cubicBezTo>
                    <a:cubicBezTo>
                      <a:pt x="633262" y="852982"/>
                      <a:pt x="632548" y="852982"/>
                      <a:pt x="631834" y="852982"/>
                    </a:cubicBezTo>
                    <a:cubicBezTo>
                      <a:pt x="628264" y="851557"/>
                      <a:pt x="625409" y="850844"/>
                      <a:pt x="623267" y="850132"/>
                    </a:cubicBezTo>
                    <a:cubicBezTo>
                      <a:pt x="621839" y="849419"/>
                      <a:pt x="621125" y="849419"/>
                      <a:pt x="620411" y="848707"/>
                    </a:cubicBezTo>
                    <a:cubicBezTo>
                      <a:pt x="617555" y="847994"/>
                      <a:pt x="614700" y="846569"/>
                      <a:pt x="611130" y="845856"/>
                    </a:cubicBezTo>
                    <a:cubicBezTo>
                      <a:pt x="610416" y="845144"/>
                      <a:pt x="610416" y="845144"/>
                      <a:pt x="609702" y="844431"/>
                    </a:cubicBezTo>
                    <a:cubicBezTo>
                      <a:pt x="606846" y="843718"/>
                      <a:pt x="603990" y="842293"/>
                      <a:pt x="600421" y="840868"/>
                    </a:cubicBezTo>
                    <a:cubicBezTo>
                      <a:pt x="599707" y="840155"/>
                      <a:pt x="599707" y="840155"/>
                      <a:pt x="598993" y="840155"/>
                    </a:cubicBezTo>
                    <a:cubicBezTo>
                      <a:pt x="596137" y="838730"/>
                      <a:pt x="592567" y="837305"/>
                      <a:pt x="589712" y="835167"/>
                    </a:cubicBezTo>
                    <a:cubicBezTo>
                      <a:pt x="589712" y="835167"/>
                      <a:pt x="589712" y="835167"/>
                      <a:pt x="588998" y="835167"/>
                    </a:cubicBezTo>
                    <a:cubicBezTo>
                      <a:pt x="588998" y="835167"/>
                      <a:pt x="588998" y="835167"/>
                      <a:pt x="588284" y="834455"/>
                    </a:cubicBezTo>
                    <a:cubicBezTo>
                      <a:pt x="586142" y="833742"/>
                      <a:pt x="584000" y="832317"/>
                      <a:pt x="581858" y="830892"/>
                    </a:cubicBezTo>
                    <a:cubicBezTo>
                      <a:pt x="579003" y="833029"/>
                      <a:pt x="576861" y="835167"/>
                      <a:pt x="574005" y="836592"/>
                    </a:cubicBezTo>
                    <a:cubicBezTo>
                      <a:pt x="573291" y="837305"/>
                      <a:pt x="571149" y="838730"/>
                      <a:pt x="571149" y="838730"/>
                    </a:cubicBezTo>
                    <a:cubicBezTo>
                      <a:pt x="568294" y="840868"/>
                      <a:pt x="565438" y="843006"/>
                      <a:pt x="561868" y="845144"/>
                    </a:cubicBezTo>
                    <a:cubicBezTo>
                      <a:pt x="561154" y="845856"/>
                      <a:pt x="559726" y="846569"/>
                      <a:pt x="558299" y="847281"/>
                    </a:cubicBezTo>
                    <a:cubicBezTo>
                      <a:pt x="555443" y="849419"/>
                      <a:pt x="552587" y="850844"/>
                      <a:pt x="549731" y="852270"/>
                    </a:cubicBezTo>
                    <a:cubicBezTo>
                      <a:pt x="548303" y="852982"/>
                      <a:pt x="546876" y="854407"/>
                      <a:pt x="545448" y="855120"/>
                    </a:cubicBezTo>
                    <a:cubicBezTo>
                      <a:pt x="542592" y="856545"/>
                      <a:pt x="540450" y="857258"/>
                      <a:pt x="539022" y="858683"/>
                    </a:cubicBezTo>
                    <a:cubicBezTo>
                      <a:pt x="536167" y="860108"/>
                      <a:pt x="534025" y="860821"/>
                      <a:pt x="531883" y="862246"/>
                    </a:cubicBezTo>
                    <a:cubicBezTo>
                      <a:pt x="530455" y="862959"/>
                      <a:pt x="528313" y="863671"/>
                      <a:pt x="526885" y="864384"/>
                    </a:cubicBezTo>
                    <a:cubicBezTo>
                      <a:pt x="524030" y="865809"/>
                      <a:pt x="521174" y="867234"/>
                      <a:pt x="518318" y="868659"/>
                    </a:cubicBezTo>
                    <a:cubicBezTo>
                      <a:pt x="516890" y="869372"/>
                      <a:pt x="515462" y="869372"/>
                      <a:pt x="514034" y="870085"/>
                    </a:cubicBezTo>
                    <a:cubicBezTo>
                      <a:pt x="510465" y="871510"/>
                      <a:pt x="506895" y="872935"/>
                      <a:pt x="504039" y="874360"/>
                    </a:cubicBezTo>
                    <a:cubicBezTo>
                      <a:pt x="503325" y="874360"/>
                      <a:pt x="501898" y="875073"/>
                      <a:pt x="501184" y="875073"/>
                    </a:cubicBezTo>
                    <a:cubicBezTo>
                      <a:pt x="501184" y="875073"/>
                      <a:pt x="501184" y="875073"/>
                      <a:pt x="500470" y="875785"/>
                    </a:cubicBezTo>
                    <a:cubicBezTo>
                      <a:pt x="496900" y="876498"/>
                      <a:pt x="493330" y="877923"/>
                      <a:pt x="490475" y="878636"/>
                    </a:cubicBezTo>
                    <a:cubicBezTo>
                      <a:pt x="489047" y="879348"/>
                      <a:pt x="486905" y="880061"/>
                      <a:pt x="486905" y="880061"/>
                    </a:cubicBezTo>
                    <a:cubicBezTo>
                      <a:pt x="484049" y="880774"/>
                      <a:pt x="480479" y="882199"/>
                      <a:pt x="476910" y="882911"/>
                    </a:cubicBezTo>
                    <a:cubicBezTo>
                      <a:pt x="476196" y="882911"/>
                      <a:pt x="474768" y="883624"/>
                      <a:pt x="474768" y="883624"/>
                    </a:cubicBezTo>
                    <a:cubicBezTo>
                      <a:pt x="470484" y="884337"/>
                      <a:pt x="466915" y="885049"/>
                      <a:pt x="462631" y="886474"/>
                    </a:cubicBezTo>
                    <a:cubicBezTo>
                      <a:pt x="462631" y="886474"/>
                      <a:pt x="460489" y="886474"/>
                      <a:pt x="459775" y="886474"/>
                    </a:cubicBezTo>
                    <a:cubicBezTo>
                      <a:pt x="456206" y="887187"/>
                      <a:pt x="451922" y="887900"/>
                      <a:pt x="447638" y="888612"/>
                    </a:cubicBezTo>
                    <a:cubicBezTo>
                      <a:pt x="447638" y="888612"/>
                      <a:pt x="447638" y="888612"/>
                      <a:pt x="445497" y="889325"/>
                    </a:cubicBezTo>
                    <a:cubicBezTo>
                      <a:pt x="441213" y="890037"/>
                      <a:pt x="436929" y="890750"/>
                      <a:pt x="432646" y="890750"/>
                    </a:cubicBezTo>
                    <a:cubicBezTo>
                      <a:pt x="432646" y="890750"/>
                      <a:pt x="432646" y="890750"/>
                      <a:pt x="430504" y="890750"/>
                    </a:cubicBezTo>
                    <a:cubicBezTo>
                      <a:pt x="426220" y="891463"/>
                      <a:pt x="421937" y="892175"/>
                      <a:pt x="417653" y="892175"/>
                    </a:cubicBezTo>
                    <a:cubicBezTo>
                      <a:pt x="417653" y="892175"/>
                      <a:pt x="417653" y="892175"/>
                      <a:pt x="416939" y="892175"/>
                    </a:cubicBezTo>
                    <a:cubicBezTo>
                      <a:pt x="411228" y="892175"/>
                      <a:pt x="406944" y="892175"/>
                      <a:pt x="402660" y="892175"/>
                    </a:cubicBezTo>
                    <a:cubicBezTo>
                      <a:pt x="398377" y="892175"/>
                      <a:pt x="394093" y="892175"/>
                      <a:pt x="389096" y="892175"/>
                    </a:cubicBezTo>
                    <a:cubicBezTo>
                      <a:pt x="389096" y="892175"/>
                      <a:pt x="389096" y="892175"/>
                      <a:pt x="388382" y="892175"/>
                    </a:cubicBezTo>
                    <a:cubicBezTo>
                      <a:pt x="387668" y="892175"/>
                      <a:pt x="386954" y="892175"/>
                      <a:pt x="386240" y="892175"/>
                    </a:cubicBezTo>
                    <a:cubicBezTo>
                      <a:pt x="381956" y="891463"/>
                      <a:pt x="376959" y="891463"/>
                      <a:pt x="373389" y="890750"/>
                    </a:cubicBezTo>
                    <a:cubicBezTo>
                      <a:pt x="372675" y="890750"/>
                      <a:pt x="372675" y="890750"/>
                      <a:pt x="372675" y="890750"/>
                    </a:cubicBezTo>
                    <a:cubicBezTo>
                      <a:pt x="372675" y="890750"/>
                      <a:pt x="372675" y="890750"/>
                      <a:pt x="371247" y="890750"/>
                    </a:cubicBezTo>
                    <a:cubicBezTo>
                      <a:pt x="366964" y="890037"/>
                      <a:pt x="363394" y="890037"/>
                      <a:pt x="359110" y="889325"/>
                    </a:cubicBezTo>
                    <a:cubicBezTo>
                      <a:pt x="359110" y="889325"/>
                      <a:pt x="359110" y="889325"/>
                      <a:pt x="357682" y="889325"/>
                    </a:cubicBezTo>
                    <a:cubicBezTo>
                      <a:pt x="357682" y="889325"/>
                      <a:pt x="357682" y="889325"/>
                      <a:pt x="356968" y="889325"/>
                    </a:cubicBezTo>
                    <a:cubicBezTo>
                      <a:pt x="352685" y="888612"/>
                      <a:pt x="348401" y="887900"/>
                      <a:pt x="344118" y="886474"/>
                    </a:cubicBezTo>
                    <a:cubicBezTo>
                      <a:pt x="344118" y="886474"/>
                      <a:pt x="344118" y="886474"/>
                      <a:pt x="341976" y="886474"/>
                    </a:cubicBezTo>
                    <a:cubicBezTo>
                      <a:pt x="337692" y="885049"/>
                      <a:pt x="333409" y="884337"/>
                      <a:pt x="329839" y="883624"/>
                    </a:cubicBezTo>
                    <a:cubicBezTo>
                      <a:pt x="329839" y="883624"/>
                      <a:pt x="329125" y="883624"/>
                      <a:pt x="328411" y="882911"/>
                    </a:cubicBezTo>
                    <a:cubicBezTo>
                      <a:pt x="324841" y="882199"/>
                      <a:pt x="321272" y="880774"/>
                      <a:pt x="316274" y="880061"/>
                    </a:cubicBezTo>
                    <a:cubicBezTo>
                      <a:pt x="316274" y="880061"/>
                      <a:pt x="316274" y="880061"/>
                      <a:pt x="314132" y="878636"/>
                    </a:cubicBezTo>
                    <a:cubicBezTo>
                      <a:pt x="309849" y="877923"/>
                      <a:pt x="305565" y="876498"/>
                      <a:pt x="301995" y="875073"/>
                    </a:cubicBezTo>
                    <a:cubicBezTo>
                      <a:pt x="301995" y="875073"/>
                      <a:pt x="301995" y="875073"/>
                      <a:pt x="299854" y="874360"/>
                    </a:cubicBezTo>
                    <a:cubicBezTo>
                      <a:pt x="296284" y="872935"/>
                      <a:pt x="293428" y="871510"/>
                      <a:pt x="289858" y="870085"/>
                    </a:cubicBezTo>
                    <a:cubicBezTo>
                      <a:pt x="289858" y="870085"/>
                      <a:pt x="289858" y="870085"/>
                      <a:pt x="287717" y="869372"/>
                    </a:cubicBezTo>
                    <a:cubicBezTo>
                      <a:pt x="287717" y="869372"/>
                      <a:pt x="287717" y="869372"/>
                      <a:pt x="287003" y="869372"/>
                    </a:cubicBezTo>
                    <a:cubicBezTo>
                      <a:pt x="283433" y="867234"/>
                      <a:pt x="279863" y="865809"/>
                      <a:pt x="276294" y="864384"/>
                    </a:cubicBezTo>
                    <a:cubicBezTo>
                      <a:pt x="275580" y="863671"/>
                      <a:pt x="273438" y="862959"/>
                      <a:pt x="273438" y="862959"/>
                    </a:cubicBezTo>
                    <a:cubicBezTo>
                      <a:pt x="269868" y="860821"/>
                      <a:pt x="266299" y="859396"/>
                      <a:pt x="263443" y="857970"/>
                    </a:cubicBezTo>
                    <a:cubicBezTo>
                      <a:pt x="262729" y="857258"/>
                      <a:pt x="262729" y="857258"/>
                      <a:pt x="262015" y="856545"/>
                    </a:cubicBezTo>
                    <a:cubicBezTo>
                      <a:pt x="259159" y="855120"/>
                      <a:pt x="255589" y="852982"/>
                      <a:pt x="251306" y="850844"/>
                    </a:cubicBezTo>
                    <a:cubicBezTo>
                      <a:pt x="250592" y="850132"/>
                      <a:pt x="249878" y="849419"/>
                      <a:pt x="248450" y="849419"/>
                    </a:cubicBezTo>
                    <a:cubicBezTo>
                      <a:pt x="244880" y="846569"/>
                      <a:pt x="242025" y="845144"/>
                      <a:pt x="238455" y="843006"/>
                    </a:cubicBezTo>
                    <a:cubicBezTo>
                      <a:pt x="238455" y="842293"/>
                      <a:pt x="237027" y="841581"/>
                      <a:pt x="236313" y="840868"/>
                    </a:cubicBezTo>
                    <a:cubicBezTo>
                      <a:pt x="233457" y="839443"/>
                      <a:pt x="231316" y="837305"/>
                      <a:pt x="228460" y="835167"/>
                    </a:cubicBezTo>
                    <a:cubicBezTo>
                      <a:pt x="228460" y="835167"/>
                      <a:pt x="228460" y="835167"/>
                      <a:pt x="227746" y="835167"/>
                    </a:cubicBezTo>
                    <a:cubicBezTo>
                      <a:pt x="227032" y="834455"/>
                      <a:pt x="226318" y="833742"/>
                      <a:pt x="225604" y="833742"/>
                    </a:cubicBezTo>
                    <a:cubicBezTo>
                      <a:pt x="222748" y="830892"/>
                      <a:pt x="219893" y="828754"/>
                      <a:pt x="217037" y="826616"/>
                    </a:cubicBezTo>
                    <a:cubicBezTo>
                      <a:pt x="216323" y="825903"/>
                      <a:pt x="214181" y="823766"/>
                      <a:pt x="214181" y="823766"/>
                    </a:cubicBezTo>
                    <a:cubicBezTo>
                      <a:pt x="211325" y="821628"/>
                      <a:pt x="208470" y="819490"/>
                      <a:pt x="206328" y="817352"/>
                    </a:cubicBezTo>
                    <a:cubicBezTo>
                      <a:pt x="206328" y="817352"/>
                      <a:pt x="204900" y="815927"/>
                      <a:pt x="204186" y="815927"/>
                    </a:cubicBezTo>
                    <a:cubicBezTo>
                      <a:pt x="202044" y="813789"/>
                      <a:pt x="199189" y="810939"/>
                      <a:pt x="196333" y="808088"/>
                    </a:cubicBezTo>
                    <a:cubicBezTo>
                      <a:pt x="195619" y="807376"/>
                      <a:pt x="194191" y="805951"/>
                      <a:pt x="193477" y="805238"/>
                    </a:cubicBezTo>
                    <a:cubicBezTo>
                      <a:pt x="190621" y="802388"/>
                      <a:pt x="187766" y="799537"/>
                      <a:pt x="185624" y="797399"/>
                    </a:cubicBezTo>
                    <a:cubicBezTo>
                      <a:pt x="184910" y="796687"/>
                      <a:pt x="183482" y="795262"/>
                      <a:pt x="183482" y="794549"/>
                    </a:cubicBezTo>
                    <a:cubicBezTo>
                      <a:pt x="181340" y="792411"/>
                      <a:pt x="179198" y="790273"/>
                      <a:pt x="177056" y="787423"/>
                    </a:cubicBezTo>
                    <a:cubicBezTo>
                      <a:pt x="176343" y="785998"/>
                      <a:pt x="175629" y="785285"/>
                      <a:pt x="174915" y="784573"/>
                    </a:cubicBezTo>
                    <a:cubicBezTo>
                      <a:pt x="173487" y="783147"/>
                      <a:pt x="172773" y="781722"/>
                      <a:pt x="171345" y="780297"/>
                    </a:cubicBezTo>
                    <a:cubicBezTo>
                      <a:pt x="170631" y="779584"/>
                      <a:pt x="169917" y="779584"/>
                      <a:pt x="169203" y="779584"/>
                    </a:cubicBezTo>
                    <a:cubicBezTo>
                      <a:pt x="167775" y="778872"/>
                      <a:pt x="166347" y="778159"/>
                      <a:pt x="164920" y="777447"/>
                    </a:cubicBezTo>
                    <a:cubicBezTo>
                      <a:pt x="162064" y="776734"/>
                      <a:pt x="159922" y="775309"/>
                      <a:pt x="157780" y="774596"/>
                    </a:cubicBezTo>
                    <a:cubicBezTo>
                      <a:pt x="157780" y="774596"/>
                      <a:pt x="157780" y="774596"/>
                      <a:pt x="157066" y="773884"/>
                    </a:cubicBezTo>
                    <a:cubicBezTo>
                      <a:pt x="155638" y="773884"/>
                      <a:pt x="154924" y="773171"/>
                      <a:pt x="153497" y="772458"/>
                    </a:cubicBezTo>
                    <a:cubicBezTo>
                      <a:pt x="151355" y="771033"/>
                      <a:pt x="148499" y="769608"/>
                      <a:pt x="145643" y="768183"/>
                    </a:cubicBezTo>
                    <a:cubicBezTo>
                      <a:pt x="144215" y="767470"/>
                      <a:pt x="143501" y="767470"/>
                      <a:pt x="142788" y="766758"/>
                    </a:cubicBezTo>
                    <a:cubicBezTo>
                      <a:pt x="139218" y="765332"/>
                      <a:pt x="135648" y="763195"/>
                      <a:pt x="132078" y="761057"/>
                    </a:cubicBezTo>
                    <a:cubicBezTo>
                      <a:pt x="131365" y="760344"/>
                      <a:pt x="130651" y="760344"/>
                      <a:pt x="129937" y="759632"/>
                    </a:cubicBezTo>
                    <a:cubicBezTo>
                      <a:pt x="129937" y="759632"/>
                      <a:pt x="129937" y="759632"/>
                      <a:pt x="129223" y="758919"/>
                    </a:cubicBezTo>
                    <a:cubicBezTo>
                      <a:pt x="126367" y="757494"/>
                      <a:pt x="124225" y="756069"/>
                      <a:pt x="122083" y="754643"/>
                    </a:cubicBezTo>
                    <a:cubicBezTo>
                      <a:pt x="121369" y="753931"/>
                      <a:pt x="119942" y="753218"/>
                      <a:pt x="119228" y="752506"/>
                    </a:cubicBezTo>
                    <a:cubicBezTo>
                      <a:pt x="119228" y="752506"/>
                      <a:pt x="119228" y="752506"/>
                      <a:pt x="118514" y="751793"/>
                    </a:cubicBezTo>
                    <a:cubicBezTo>
                      <a:pt x="116372" y="750368"/>
                      <a:pt x="114230" y="748943"/>
                      <a:pt x="112088" y="747517"/>
                    </a:cubicBezTo>
                    <a:cubicBezTo>
                      <a:pt x="112088" y="747517"/>
                      <a:pt x="112088" y="747517"/>
                      <a:pt x="111374" y="747517"/>
                    </a:cubicBezTo>
                    <a:cubicBezTo>
                      <a:pt x="110660" y="746805"/>
                      <a:pt x="109233" y="745380"/>
                      <a:pt x="108519" y="744667"/>
                    </a:cubicBezTo>
                    <a:cubicBezTo>
                      <a:pt x="106377" y="743242"/>
                      <a:pt x="104235" y="741817"/>
                      <a:pt x="102093" y="739679"/>
                    </a:cubicBezTo>
                    <a:cubicBezTo>
                      <a:pt x="102093" y="739679"/>
                      <a:pt x="102093" y="739679"/>
                      <a:pt x="101379" y="739679"/>
                    </a:cubicBezTo>
                    <a:cubicBezTo>
                      <a:pt x="100665" y="738966"/>
                      <a:pt x="99951" y="738254"/>
                      <a:pt x="99237" y="737541"/>
                    </a:cubicBezTo>
                    <a:cubicBezTo>
                      <a:pt x="95668" y="734691"/>
                      <a:pt x="92812" y="732553"/>
                      <a:pt x="89956" y="729702"/>
                    </a:cubicBezTo>
                    <a:cubicBezTo>
                      <a:pt x="89242" y="728990"/>
                      <a:pt x="88528" y="728990"/>
                      <a:pt x="87814" y="728277"/>
                    </a:cubicBezTo>
                    <a:cubicBezTo>
                      <a:pt x="85673" y="725427"/>
                      <a:pt x="83531" y="724002"/>
                      <a:pt x="81389" y="721864"/>
                    </a:cubicBezTo>
                    <a:cubicBezTo>
                      <a:pt x="80675" y="721151"/>
                      <a:pt x="79961" y="719726"/>
                      <a:pt x="78533" y="719013"/>
                    </a:cubicBezTo>
                    <a:cubicBezTo>
                      <a:pt x="78533" y="719013"/>
                      <a:pt x="78533" y="719013"/>
                      <a:pt x="78533" y="718301"/>
                    </a:cubicBezTo>
                    <a:cubicBezTo>
                      <a:pt x="76391" y="716876"/>
                      <a:pt x="74250" y="714738"/>
                      <a:pt x="72822" y="713313"/>
                    </a:cubicBezTo>
                    <a:cubicBezTo>
                      <a:pt x="72108" y="711887"/>
                      <a:pt x="70680" y="710462"/>
                      <a:pt x="69966" y="709750"/>
                    </a:cubicBezTo>
                    <a:cubicBezTo>
                      <a:pt x="67824" y="707612"/>
                      <a:pt x="66396" y="706187"/>
                      <a:pt x="64255" y="703336"/>
                    </a:cubicBezTo>
                    <a:cubicBezTo>
                      <a:pt x="63541" y="701911"/>
                      <a:pt x="62827" y="701198"/>
                      <a:pt x="62113" y="700486"/>
                    </a:cubicBezTo>
                    <a:cubicBezTo>
                      <a:pt x="59257" y="697635"/>
                      <a:pt x="57115" y="694785"/>
                      <a:pt x="54973" y="691935"/>
                    </a:cubicBezTo>
                    <a:cubicBezTo>
                      <a:pt x="54973" y="691935"/>
                      <a:pt x="54973" y="691935"/>
                      <a:pt x="54259" y="691222"/>
                    </a:cubicBezTo>
                    <a:cubicBezTo>
                      <a:pt x="52118" y="688372"/>
                      <a:pt x="49976" y="684809"/>
                      <a:pt x="47834" y="681246"/>
                    </a:cubicBezTo>
                    <a:cubicBezTo>
                      <a:pt x="47120" y="680533"/>
                      <a:pt x="46406" y="679820"/>
                      <a:pt x="45692" y="679108"/>
                    </a:cubicBezTo>
                    <a:cubicBezTo>
                      <a:pt x="45692" y="679108"/>
                      <a:pt x="45692" y="679108"/>
                      <a:pt x="44978" y="678395"/>
                    </a:cubicBezTo>
                    <a:cubicBezTo>
                      <a:pt x="43550" y="675545"/>
                      <a:pt x="42122" y="673407"/>
                      <a:pt x="40695" y="671269"/>
                    </a:cubicBezTo>
                    <a:cubicBezTo>
                      <a:pt x="39981" y="669844"/>
                      <a:pt x="39267" y="668419"/>
                      <a:pt x="38553" y="667706"/>
                    </a:cubicBezTo>
                    <a:cubicBezTo>
                      <a:pt x="37125" y="665568"/>
                      <a:pt x="35697" y="662718"/>
                      <a:pt x="34269" y="660580"/>
                    </a:cubicBezTo>
                    <a:cubicBezTo>
                      <a:pt x="34269" y="660580"/>
                      <a:pt x="34269" y="660580"/>
                      <a:pt x="34269" y="659868"/>
                    </a:cubicBezTo>
                    <a:cubicBezTo>
                      <a:pt x="33555" y="659155"/>
                      <a:pt x="32841" y="657730"/>
                      <a:pt x="32127" y="657017"/>
                    </a:cubicBezTo>
                    <a:cubicBezTo>
                      <a:pt x="30700" y="654167"/>
                      <a:pt x="29986" y="651316"/>
                      <a:pt x="27844" y="648466"/>
                    </a:cubicBezTo>
                    <a:cubicBezTo>
                      <a:pt x="27844" y="647753"/>
                      <a:pt x="27130" y="647041"/>
                      <a:pt x="27130" y="646328"/>
                    </a:cubicBezTo>
                    <a:cubicBezTo>
                      <a:pt x="24988" y="642765"/>
                      <a:pt x="23560" y="639202"/>
                      <a:pt x="22132" y="634927"/>
                    </a:cubicBezTo>
                    <a:cubicBezTo>
                      <a:pt x="21418" y="634214"/>
                      <a:pt x="21418" y="633501"/>
                      <a:pt x="20704" y="632789"/>
                    </a:cubicBezTo>
                    <a:cubicBezTo>
                      <a:pt x="20704" y="632789"/>
                      <a:pt x="20704" y="632789"/>
                      <a:pt x="20704" y="632076"/>
                    </a:cubicBezTo>
                    <a:cubicBezTo>
                      <a:pt x="19277" y="629226"/>
                      <a:pt x="18563" y="626375"/>
                      <a:pt x="17135" y="623525"/>
                    </a:cubicBezTo>
                    <a:cubicBezTo>
                      <a:pt x="17135" y="622812"/>
                      <a:pt x="16421" y="621387"/>
                      <a:pt x="15707" y="620675"/>
                    </a:cubicBezTo>
                    <a:cubicBezTo>
                      <a:pt x="15707" y="620675"/>
                      <a:pt x="15707" y="620675"/>
                      <a:pt x="15707" y="619962"/>
                    </a:cubicBezTo>
                    <a:cubicBezTo>
                      <a:pt x="14993" y="617112"/>
                      <a:pt x="14279" y="614261"/>
                      <a:pt x="12851" y="612123"/>
                    </a:cubicBezTo>
                    <a:cubicBezTo>
                      <a:pt x="12851" y="612123"/>
                      <a:pt x="12137" y="609273"/>
                      <a:pt x="12137" y="607848"/>
                    </a:cubicBezTo>
                    <a:cubicBezTo>
                      <a:pt x="10709" y="604997"/>
                      <a:pt x="9995" y="602147"/>
                      <a:pt x="9281" y="599297"/>
                    </a:cubicBezTo>
                    <a:cubicBezTo>
                      <a:pt x="9281" y="599297"/>
                      <a:pt x="9281" y="599297"/>
                      <a:pt x="9281" y="598584"/>
                    </a:cubicBezTo>
                    <a:cubicBezTo>
                      <a:pt x="9281" y="597871"/>
                      <a:pt x="8567" y="596446"/>
                      <a:pt x="8567" y="595734"/>
                    </a:cubicBezTo>
                    <a:cubicBezTo>
                      <a:pt x="7140" y="591458"/>
                      <a:pt x="6426" y="587895"/>
                      <a:pt x="5712" y="583619"/>
                    </a:cubicBezTo>
                    <a:cubicBezTo>
                      <a:pt x="5712" y="582907"/>
                      <a:pt x="4998" y="581482"/>
                      <a:pt x="4998" y="580769"/>
                    </a:cubicBezTo>
                    <a:cubicBezTo>
                      <a:pt x="4284" y="577919"/>
                      <a:pt x="3570" y="574356"/>
                      <a:pt x="3570" y="571505"/>
                    </a:cubicBezTo>
                    <a:cubicBezTo>
                      <a:pt x="3570" y="570793"/>
                      <a:pt x="2856" y="569367"/>
                      <a:pt x="2856" y="568655"/>
                    </a:cubicBezTo>
                    <a:cubicBezTo>
                      <a:pt x="2856" y="568655"/>
                      <a:pt x="2856" y="568655"/>
                      <a:pt x="2856" y="567942"/>
                    </a:cubicBezTo>
                    <a:cubicBezTo>
                      <a:pt x="2856" y="567942"/>
                      <a:pt x="2856" y="567942"/>
                      <a:pt x="2856" y="567230"/>
                    </a:cubicBezTo>
                    <a:cubicBezTo>
                      <a:pt x="2142" y="564379"/>
                      <a:pt x="2142" y="561529"/>
                      <a:pt x="1428" y="558678"/>
                    </a:cubicBezTo>
                    <a:cubicBezTo>
                      <a:pt x="1428" y="557253"/>
                      <a:pt x="1428" y="555828"/>
                      <a:pt x="1428" y="554403"/>
                    </a:cubicBezTo>
                    <a:cubicBezTo>
                      <a:pt x="714" y="551552"/>
                      <a:pt x="714" y="548702"/>
                      <a:pt x="714" y="545852"/>
                    </a:cubicBezTo>
                    <a:cubicBezTo>
                      <a:pt x="714" y="545852"/>
                      <a:pt x="714" y="545852"/>
                      <a:pt x="714" y="545139"/>
                    </a:cubicBezTo>
                    <a:cubicBezTo>
                      <a:pt x="714" y="543714"/>
                      <a:pt x="0" y="543001"/>
                      <a:pt x="0" y="541576"/>
                    </a:cubicBezTo>
                    <a:cubicBezTo>
                      <a:pt x="0" y="536588"/>
                      <a:pt x="0" y="533025"/>
                      <a:pt x="0" y="528749"/>
                    </a:cubicBezTo>
                    <a:cubicBezTo>
                      <a:pt x="0" y="463190"/>
                      <a:pt x="24274" y="399769"/>
                      <a:pt x="67110" y="350599"/>
                    </a:cubicBezTo>
                    <a:cubicBezTo>
                      <a:pt x="97810" y="315682"/>
                      <a:pt x="136362" y="290028"/>
                      <a:pt x="179912" y="274351"/>
                    </a:cubicBezTo>
                    <a:cubicBezTo>
                      <a:pt x="192763" y="121142"/>
                      <a:pt x="322700" y="0"/>
                      <a:pt x="48047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8" name="Freeform 6">
                <a:extLst>
                  <a:ext uri="{FF2B5EF4-FFF2-40B4-BE49-F238E27FC236}">
                    <a16:creationId xmlns:a16="http://schemas.microsoft.com/office/drawing/2014/main" id="{9BA6DEAF-AA4D-45E0-8CAA-AD387EB7F5AE}"/>
                  </a:ext>
                </a:extLst>
              </p:cNvPr>
              <p:cNvSpPr>
                <a:spLocks/>
              </p:cNvSpPr>
              <p:nvPr/>
            </p:nvSpPr>
            <p:spPr bwMode="auto">
              <a:xfrm>
                <a:off x="5511800" y="3044825"/>
                <a:ext cx="1166813" cy="766763"/>
              </a:xfrm>
              <a:custGeom>
                <a:avLst/>
                <a:gdLst>
                  <a:gd name="connsiteX0" fmla="*/ 822458 w 1166813"/>
                  <a:gd name="connsiteY0" fmla="*/ 412750 h 766763"/>
                  <a:gd name="connsiteX1" fmla="*/ 796661 w 1166813"/>
                  <a:gd name="connsiteY1" fmla="*/ 419822 h 766763"/>
                  <a:gd name="connsiteX2" fmla="*/ 779463 w 1166813"/>
                  <a:gd name="connsiteY2" fmla="*/ 438208 h 766763"/>
                  <a:gd name="connsiteX3" fmla="*/ 798094 w 1166813"/>
                  <a:gd name="connsiteY3" fmla="*/ 452351 h 766763"/>
                  <a:gd name="connsiteX4" fmla="*/ 823891 w 1166813"/>
                  <a:gd name="connsiteY4" fmla="*/ 435379 h 766763"/>
                  <a:gd name="connsiteX5" fmla="*/ 844672 w 1166813"/>
                  <a:gd name="connsiteY5" fmla="*/ 453058 h 766763"/>
                  <a:gd name="connsiteX6" fmla="*/ 830341 w 1166813"/>
                  <a:gd name="connsiteY6" fmla="*/ 489123 h 766763"/>
                  <a:gd name="connsiteX7" fmla="*/ 780896 w 1166813"/>
                  <a:gd name="connsiteY7" fmla="*/ 560546 h 766763"/>
                  <a:gd name="connsiteX8" fmla="*/ 780896 w 1166813"/>
                  <a:gd name="connsiteY8" fmla="*/ 568325 h 766763"/>
                  <a:gd name="connsiteX9" fmla="*/ 882651 w 1166813"/>
                  <a:gd name="connsiteY9" fmla="*/ 568325 h 766763"/>
                  <a:gd name="connsiteX10" fmla="*/ 882651 w 1166813"/>
                  <a:gd name="connsiteY10" fmla="*/ 544282 h 766763"/>
                  <a:gd name="connsiteX11" fmla="*/ 824608 w 1166813"/>
                  <a:gd name="connsiteY11" fmla="*/ 544282 h 766763"/>
                  <a:gd name="connsiteX12" fmla="*/ 856138 w 1166813"/>
                  <a:gd name="connsiteY12" fmla="*/ 496195 h 766763"/>
                  <a:gd name="connsiteX13" fmla="*/ 873336 w 1166813"/>
                  <a:gd name="connsiteY13" fmla="*/ 453058 h 766763"/>
                  <a:gd name="connsiteX14" fmla="*/ 860437 w 1166813"/>
                  <a:gd name="connsiteY14" fmla="*/ 423358 h 766763"/>
                  <a:gd name="connsiteX15" fmla="*/ 822458 w 1166813"/>
                  <a:gd name="connsiteY15" fmla="*/ 412750 h 766763"/>
                  <a:gd name="connsiteX16" fmla="*/ 631630 w 1166813"/>
                  <a:gd name="connsiteY16" fmla="*/ 295275 h 766763"/>
                  <a:gd name="connsiteX17" fmla="*/ 700088 w 1166813"/>
                  <a:gd name="connsiteY17" fmla="*/ 388741 h 766763"/>
                  <a:gd name="connsiteX18" fmla="*/ 681548 w 1166813"/>
                  <a:gd name="connsiteY18" fmla="*/ 460803 h 766763"/>
                  <a:gd name="connsiteX19" fmla="*/ 628065 w 1166813"/>
                  <a:gd name="connsiteY19" fmla="*/ 485775 h 766763"/>
                  <a:gd name="connsiteX20" fmla="*/ 582426 w 1166813"/>
                  <a:gd name="connsiteY20" fmla="*/ 460803 h 766763"/>
                  <a:gd name="connsiteX21" fmla="*/ 566738 w 1166813"/>
                  <a:gd name="connsiteY21" fmla="*/ 388741 h 766763"/>
                  <a:gd name="connsiteX22" fmla="*/ 583140 w 1166813"/>
                  <a:gd name="connsiteY22" fmla="*/ 320247 h 766763"/>
                  <a:gd name="connsiteX23" fmla="*/ 631630 w 1166813"/>
                  <a:gd name="connsiteY23" fmla="*/ 295275 h 766763"/>
                  <a:gd name="connsiteX24" fmla="*/ 631630 w 1166813"/>
                  <a:gd name="connsiteY24" fmla="*/ 252413 h 766763"/>
                  <a:gd name="connsiteX25" fmla="*/ 548191 w 1166813"/>
                  <a:gd name="connsiteY25" fmla="*/ 291647 h 766763"/>
                  <a:gd name="connsiteX26" fmla="*/ 517525 w 1166813"/>
                  <a:gd name="connsiteY26" fmla="*/ 387949 h 766763"/>
                  <a:gd name="connsiteX27" fmla="*/ 546051 w 1166813"/>
                  <a:gd name="connsiteY27" fmla="*/ 489957 h 766763"/>
                  <a:gd name="connsiteX28" fmla="*/ 628064 w 1166813"/>
                  <a:gd name="connsiteY28" fmla="*/ 527051 h 766763"/>
                  <a:gd name="connsiteX29" fmla="*/ 717921 w 1166813"/>
                  <a:gd name="connsiteY29" fmla="*/ 489244 h 766763"/>
                  <a:gd name="connsiteX30" fmla="*/ 749300 w 1166813"/>
                  <a:gd name="connsiteY30" fmla="*/ 387949 h 766763"/>
                  <a:gd name="connsiteX31" fmla="*/ 718635 w 1166813"/>
                  <a:gd name="connsiteY31" fmla="*/ 288080 h 766763"/>
                  <a:gd name="connsiteX32" fmla="*/ 631630 w 1166813"/>
                  <a:gd name="connsiteY32" fmla="*/ 252413 h 766763"/>
                  <a:gd name="connsiteX33" fmla="*/ 412336 w 1166813"/>
                  <a:gd name="connsiteY33" fmla="*/ 252413 h 766763"/>
                  <a:gd name="connsiteX34" fmla="*/ 324709 w 1166813"/>
                  <a:gd name="connsiteY34" fmla="*/ 292360 h 766763"/>
                  <a:gd name="connsiteX35" fmla="*/ 290513 w 1166813"/>
                  <a:gd name="connsiteY35" fmla="*/ 390802 h 766763"/>
                  <a:gd name="connsiteX36" fmla="*/ 321859 w 1166813"/>
                  <a:gd name="connsiteY36" fmla="*/ 490671 h 766763"/>
                  <a:gd name="connsiteX37" fmla="*/ 408061 w 1166813"/>
                  <a:gd name="connsiteY37" fmla="*/ 527051 h 766763"/>
                  <a:gd name="connsiteX38" fmla="*/ 492126 w 1166813"/>
                  <a:gd name="connsiteY38" fmla="*/ 496377 h 766763"/>
                  <a:gd name="connsiteX39" fmla="*/ 470041 w 1166813"/>
                  <a:gd name="connsiteY39" fmla="*/ 458570 h 766763"/>
                  <a:gd name="connsiteX40" fmla="*/ 411624 w 1166813"/>
                  <a:gd name="connsiteY40" fmla="*/ 484964 h 766763"/>
                  <a:gd name="connsiteX41" fmla="*/ 359617 w 1166813"/>
                  <a:gd name="connsiteY41" fmla="*/ 459997 h 766763"/>
                  <a:gd name="connsiteX42" fmla="*/ 339670 w 1166813"/>
                  <a:gd name="connsiteY42" fmla="*/ 392942 h 766763"/>
                  <a:gd name="connsiteX43" fmla="*/ 361042 w 1166813"/>
                  <a:gd name="connsiteY43" fmla="*/ 322321 h 766763"/>
                  <a:gd name="connsiteX44" fmla="*/ 415186 w 1166813"/>
                  <a:gd name="connsiteY44" fmla="*/ 294501 h 766763"/>
                  <a:gd name="connsiteX45" fmla="*/ 465767 w 1166813"/>
                  <a:gd name="connsiteY45" fmla="*/ 310194 h 766763"/>
                  <a:gd name="connsiteX46" fmla="*/ 485002 w 1166813"/>
                  <a:gd name="connsiteY46" fmla="*/ 271673 h 766763"/>
                  <a:gd name="connsiteX47" fmla="*/ 412336 w 1166813"/>
                  <a:gd name="connsiteY47" fmla="*/ 252413 h 766763"/>
                  <a:gd name="connsiteX48" fmla="*/ 417739 w 1166813"/>
                  <a:gd name="connsiteY48" fmla="*/ 0 h 766763"/>
                  <a:gd name="connsiteX49" fmla="*/ 616255 w 1166813"/>
                  <a:gd name="connsiteY49" fmla="*/ 104040 h 766763"/>
                  <a:gd name="connsiteX50" fmla="*/ 709800 w 1166813"/>
                  <a:gd name="connsiteY50" fmla="*/ 76961 h 766763"/>
                  <a:gd name="connsiteX51" fmla="*/ 884036 w 1166813"/>
                  <a:gd name="connsiteY51" fmla="*/ 248699 h 766763"/>
                  <a:gd name="connsiteX52" fmla="*/ 885464 w 1166813"/>
                  <a:gd name="connsiteY52" fmla="*/ 248699 h 766763"/>
                  <a:gd name="connsiteX53" fmla="*/ 891177 w 1166813"/>
                  <a:gd name="connsiteY53" fmla="*/ 248699 h 766763"/>
                  <a:gd name="connsiteX54" fmla="*/ 1026853 w 1166813"/>
                  <a:gd name="connsiteY54" fmla="*/ 336350 h 766763"/>
                  <a:gd name="connsiteX55" fmla="*/ 1068984 w 1166813"/>
                  <a:gd name="connsiteY55" fmla="*/ 349889 h 766763"/>
                  <a:gd name="connsiteX56" fmla="*/ 1069698 w 1166813"/>
                  <a:gd name="connsiteY56" fmla="*/ 349889 h 766763"/>
                  <a:gd name="connsiteX57" fmla="*/ 1081123 w 1166813"/>
                  <a:gd name="connsiteY57" fmla="*/ 356303 h 766763"/>
                  <a:gd name="connsiteX58" fmla="*/ 1083265 w 1166813"/>
                  <a:gd name="connsiteY58" fmla="*/ 357728 h 766763"/>
                  <a:gd name="connsiteX59" fmla="*/ 1096833 w 1166813"/>
                  <a:gd name="connsiteY59" fmla="*/ 366279 h 766763"/>
                  <a:gd name="connsiteX60" fmla="*/ 1107544 w 1166813"/>
                  <a:gd name="connsiteY60" fmla="*/ 374830 h 766763"/>
                  <a:gd name="connsiteX61" fmla="*/ 1113971 w 1166813"/>
                  <a:gd name="connsiteY61" fmla="*/ 381244 h 766763"/>
                  <a:gd name="connsiteX62" fmla="*/ 1130395 w 1166813"/>
                  <a:gd name="connsiteY62" fmla="*/ 398346 h 766763"/>
                  <a:gd name="connsiteX63" fmla="*/ 1145391 w 1166813"/>
                  <a:gd name="connsiteY63" fmla="*/ 421150 h 766763"/>
                  <a:gd name="connsiteX64" fmla="*/ 1162529 w 1166813"/>
                  <a:gd name="connsiteY64" fmla="*/ 466044 h 766763"/>
                  <a:gd name="connsiteX65" fmla="*/ 1166813 w 1166813"/>
                  <a:gd name="connsiteY65" fmla="*/ 503812 h 766763"/>
                  <a:gd name="connsiteX66" fmla="*/ 1166813 w 1166813"/>
                  <a:gd name="connsiteY66" fmla="*/ 512363 h 766763"/>
                  <a:gd name="connsiteX67" fmla="*/ 1163243 w 1166813"/>
                  <a:gd name="connsiteY67" fmla="*/ 538017 h 766763"/>
                  <a:gd name="connsiteX68" fmla="*/ 1161101 w 1166813"/>
                  <a:gd name="connsiteY68" fmla="*/ 546568 h 766763"/>
                  <a:gd name="connsiteX69" fmla="*/ 994005 w 1166813"/>
                  <a:gd name="connsiteY69" fmla="*/ 674125 h 766763"/>
                  <a:gd name="connsiteX70" fmla="*/ 961871 w 1166813"/>
                  <a:gd name="connsiteY70" fmla="*/ 674125 h 766763"/>
                  <a:gd name="connsiteX71" fmla="*/ 961157 w 1166813"/>
                  <a:gd name="connsiteY71" fmla="*/ 674837 h 766763"/>
                  <a:gd name="connsiteX72" fmla="*/ 956158 w 1166813"/>
                  <a:gd name="connsiteY72" fmla="*/ 679113 h 766763"/>
                  <a:gd name="connsiteX73" fmla="*/ 954016 w 1166813"/>
                  <a:gd name="connsiteY73" fmla="*/ 681251 h 766763"/>
                  <a:gd name="connsiteX74" fmla="*/ 950446 w 1166813"/>
                  <a:gd name="connsiteY74" fmla="*/ 684101 h 766763"/>
                  <a:gd name="connsiteX75" fmla="*/ 947589 w 1166813"/>
                  <a:gd name="connsiteY75" fmla="*/ 685526 h 766763"/>
                  <a:gd name="connsiteX76" fmla="*/ 944019 w 1166813"/>
                  <a:gd name="connsiteY76" fmla="*/ 688377 h 766763"/>
                  <a:gd name="connsiteX77" fmla="*/ 941163 w 1166813"/>
                  <a:gd name="connsiteY77" fmla="*/ 690514 h 766763"/>
                  <a:gd name="connsiteX78" fmla="*/ 937592 w 1166813"/>
                  <a:gd name="connsiteY78" fmla="*/ 692652 h 766763"/>
                  <a:gd name="connsiteX79" fmla="*/ 934736 w 1166813"/>
                  <a:gd name="connsiteY79" fmla="*/ 694077 h 766763"/>
                  <a:gd name="connsiteX80" fmla="*/ 931166 w 1166813"/>
                  <a:gd name="connsiteY80" fmla="*/ 696215 h 766763"/>
                  <a:gd name="connsiteX81" fmla="*/ 928309 w 1166813"/>
                  <a:gd name="connsiteY81" fmla="*/ 697640 h 766763"/>
                  <a:gd name="connsiteX82" fmla="*/ 924025 w 1166813"/>
                  <a:gd name="connsiteY82" fmla="*/ 699778 h 766763"/>
                  <a:gd name="connsiteX83" fmla="*/ 921168 w 1166813"/>
                  <a:gd name="connsiteY83" fmla="*/ 701203 h 766763"/>
                  <a:gd name="connsiteX84" fmla="*/ 917598 w 1166813"/>
                  <a:gd name="connsiteY84" fmla="*/ 703341 h 766763"/>
                  <a:gd name="connsiteX85" fmla="*/ 914028 w 1166813"/>
                  <a:gd name="connsiteY85" fmla="*/ 704767 h 766763"/>
                  <a:gd name="connsiteX86" fmla="*/ 910457 w 1166813"/>
                  <a:gd name="connsiteY86" fmla="*/ 706192 h 766763"/>
                  <a:gd name="connsiteX87" fmla="*/ 906887 w 1166813"/>
                  <a:gd name="connsiteY87" fmla="*/ 706904 h 766763"/>
                  <a:gd name="connsiteX88" fmla="*/ 902602 w 1166813"/>
                  <a:gd name="connsiteY88" fmla="*/ 708330 h 766763"/>
                  <a:gd name="connsiteX89" fmla="*/ 899746 w 1166813"/>
                  <a:gd name="connsiteY89" fmla="*/ 709755 h 766763"/>
                  <a:gd name="connsiteX90" fmla="*/ 896175 w 1166813"/>
                  <a:gd name="connsiteY90" fmla="*/ 710467 h 766763"/>
                  <a:gd name="connsiteX91" fmla="*/ 892605 w 1166813"/>
                  <a:gd name="connsiteY91" fmla="*/ 711893 h 766763"/>
                  <a:gd name="connsiteX92" fmla="*/ 888321 w 1166813"/>
                  <a:gd name="connsiteY92" fmla="*/ 712605 h 766763"/>
                  <a:gd name="connsiteX93" fmla="*/ 885464 w 1166813"/>
                  <a:gd name="connsiteY93" fmla="*/ 713318 h 766763"/>
                  <a:gd name="connsiteX94" fmla="*/ 880466 w 1166813"/>
                  <a:gd name="connsiteY94" fmla="*/ 714030 h 766763"/>
                  <a:gd name="connsiteX95" fmla="*/ 877609 w 1166813"/>
                  <a:gd name="connsiteY95" fmla="*/ 714743 h 766763"/>
                  <a:gd name="connsiteX96" fmla="*/ 872611 w 1166813"/>
                  <a:gd name="connsiteY96" fmla="*/ 715456 h 766763"/>
                  <a:gd name="connsiteX97" fmla="*/ 869754 w 1166813"/>
                  <a:gd name="connsiteY97" fmla="*/ 715456 h 766763"/>
                  <a:gd name="connsiteX98" fmla="*/ 864042 w 1166813"/>
                  <a:gd name="connsiteY98" fmla="*/ 716168 h 766763"/>
                  <a:gd name="connsiteX99" fmla="*/ 861185 w 1166813"/>
                  <a:gd name="connsiteY99" fmla="*/ 716168 h 766763"/>
                  <a:gd name="connsiteX100" fmla="*/ 854044 w 1166813"/>
                  <a:gd name="connsiteY100" fmla="*/ 716168 h 766763"/>
                  <a:gd name="connsiteX101" fmla="*/ 853330 w 1166813"/>
                  <a:gd name="connsiteY101" fmla="*/ 716168 h 766763"/>
                  <a:gd name="connsiteX102" fmla="*/ 846190 w 1166813"/>
                  <a:gd name="connsiteY102" fmla="*/ 716168 h 766763"/>
                  <a:gd name="connsiteX103" fmla="*/ 843333 w 1166813"/>
                  <a:gd name="connsiteY103" fmla="*/ 716168 h 766763"/>
                  <a:gd name="connsiteX104" fmla="*/ 838335 w 1166813"/>
                  <a:gd name="connsiteY104" fmla="*/ 715456 h 766763"/>
                  <a:gd name="connsiteX105" fmla="*/ 836192 w 1166813"/>
                  <a:gd name="connsiteY105" fmla="*/ 715456 h 766763"/>
                  <a:gd name="connsiteX106" fmla="*/ 829052 w 1166813"/>
                  <a:gd name="connsiteY106" fmla="*/ 714743 h 766763"/>
                  <a:gd name="connsiteX107" fmla="*/ 827623 w 1166813"/>
                  <a:gd name="connsiteY107" fmla="*/ 714743 h 766763"/>
                  <a:gd name="connsiteX108" fmla="*/ 821911 w 1166813"/>
                  <a:gd name="connsiteY108" fmla="*/ 713318 h 766763"/>
                  <a:gd name="connsiteX109" fmla="*/ 819054 w 1166813"/>
                  <a:gd name="connsiteY109" fmla="*/ 712605 h 766763"/>
                  <a:gd name="connsiteX110" fmla="*/ 814770 w 1166813"/>
                  <a:gd name="connsiteY110" fmla="*/ 711893 h 766763"/>
                  <a:gd name="connsiteX111" fmla="*/ 811914 w 1166813"/>
                  <a:gd name="connsiteY111" fmla="*/ 711180 h 766763"/>
                  <a:gd name="connsiteX112" fmla="*/ 805487 w 1166813"/>
                  <a:gd name="connsiteY112" fmla="*/ 709042 h 766763"/>
                  <a:gd name="connsiteX113" fmla="*/ 802630 w 1166813"/>
                  <a:gd name="connsiteY113" fmla="*/ 708330 h 766763"/>
                  <a:gd name="connsiteX114" fmla="*/ 799060 w 1166813"/>
                  <a:gd name="connsiteY114" fmla="*/ 706904 h 766763"/>
                  <a:gd name="connsiteX115" fmla="*/ 795490 w 1166813"/>
                  <a:gd name="connsiteY115" fmla="*/ 706192 h 766763"/>
                  <a:gd name="connsiteX116" fmla="*/ 792633 w 1166813"/>
                  <a:gd name="connsiteY116" fmla="*/ 704767 h 766763"/>
                  <a:gd name="connsiteX117" fmla="*/ 789063 w 1166813"/>
                  <a:gd name="connsiteY117" fmla="*/ 703341 h 766763"/>
                  <a:gd name="connsiteX118" fmla="*/ 784778 w 1166813"/>
                  <a:gd name="connsiteY118" fmla="*/ 701203 h 766763"/>
                  <a:gd name="connsiteX119" fmla="*/ 780494 w 1166813"/>
                  <a:gd name="connsiteY119" fmla="*/ 699066 h 766763"/>
                  <a:gd name="connsiteX120" fmla="*/ 777638 w 1166813"/>
                  <a:gd name="connsiteY120" fmla="*/ 697640 h 766763"/>
                  <a:gd name="connsiteX121" fmla="*/ 774067 w 1166813"/>
                  <a:gd name="connsiteY121" fmla="*/ 696215 h 766763"/>
                  <a:gd name="connsiteX122" fmla="*/ 771925 w 1166813"/>
                  <a:gd name="connsiteY122" fmla="*/ 694790 h 766763"/>
                  <a:gd name="connsiteX123" fmla="*/ 763356 w 1166813"/>
                  <a:gd name="connsiteY123" fmla="*/ 689089 h 766763"/>
                  <a:gd name="connsiteX124" fmla="*/ 757643 w 1166813"/>
                  <a:gd name="connsiteY124" fmla="*/ 694790 h 766763"/>
                  <a:gd name="connsiteX125" fmla="*/ 751216 w 1166813"/>
                  <a:gd name="connsiteY125" fmla="*/ 699778 h 766763"/>
                  <a:gd name="connsiteX126" fmla="*/ 750502 w 1166813"/>
                  <a:gd name="connsiteY126" fmla="*/ 700491 h 766763"/>
                  <a:gd name="connsiteX127" fmla="*/ 744790 w 1166813"/>
                  <a:gd name="connsiteY127" fmla="*/ 704767 h 766763"/>
                  <a:gd name="connsiteX128" fmla="*/ 744076 w 1166813"/>
                  <a:gd name="connsiteY128" fmla="*/ 705479 h 766763"/>
                  <a:gd name="connsiteX129" fmla="*/ 738363 w 1166813"/>
                  <a:gd name="connsiteY129" fmla="*/ 709042 h 766763"/>
                  <a:gd name="connsiteX130" fmla="*/ 736935 w 1166813"/>
                  <a:gd name="connsiteY130" fmla="*/ 709755 h 766763"/>
                  <a:gd name="connsiteX131" fmla="*/ 731222 w 1166813"/>
                  <a:gd name="connsiteY131" fmla="*/ 713318 h 766763"/>
                  <a:gd name="connsiteX132" fmla="*/ 729080 w 1166813"/>
                  <a:gd name="connsiteY132" fmla="*/ 714743 h 766763"/>
                  <a:gd name="connsiteX133" fmla="*/ 724081 w 1166813"/>
                  <a:gd name="connsiteY133" fmla="*/ 717593 h 766763"/>
                  <a:gd name="connsiteX134" fmla="*/ 721939 w 1166813"/>
                  <a:gd name="connsiteY134" fmla="*/ 718306 h 766763"/>
                  <a:gd name="connsiteX135" fmla="*/ 716226 w 1166813"/>
                  <a:gd name="connsiteY135" fmla="*/ 721156 h 766763"/>
                  <a:gd name="connsiteX136" fmla="*/ 714084 w 1166813"/>
                  <a:gd name="connsiteY136" fmla="*/ 722582 h 766763"/>
                  <a:gd name="connsiteX137" fmla="*/ 708371 w 1166813"/>
                  <a:gd name="connsiteY137" fmla="*/ 724719 h 766763"/>
                  <a:gd name="connsiteX138" fmla="*/ 706229 w 1166813"/>
                  <a:gd name="connsiteY138" fmla="*/ 725432 h 766763"/>
                  <a:gd name="connsiteX139" fmla="*/ 700516 w 1166813"/>
                  <a:gd name="connsiteY139" fmla="*/ 727570 h 766763"/>
                  <a:gd name="connsiteX140" fmla="*/ 697660 w 1166813"/>
                  <a:gd name="connsiteY140" fmla="*/ 728282 h 766763"/>
                  <a:gd name="connsiteX141" fmla="*/ 692662 w 1166813"/>
                  <a:gd name="connsiteY141" fmla="*/ 730420 h 766763"/>
                  <a:gd name="connsiteX142" fmla="*/ 689091 w 1166813"/>
                  <a:gd name="connsiteY142" fmla="*/ 731133 h 766763"/>
                  <a:gd name="connsiteX143" fmla="*/ 684093 w 1166813"/>
                  <a:gd name="connsiteY143" fmla="*/ 732558 h 766763"/>
                  <a:gd name="connsiteX144" fmla="*/ 680522 w 1166813"/>
                  <a:gd name="connsiteY144" fmla="*/ 733271 h 766763"/>
                  <a:gd name="connsiteX145" fmla="*/ 675524 w 1166813"/>
                  <a:gd name="connsiteY145" fmla="*/ 734696 h 766763"/>
                  <a:gd name="connsiteX146" fmla="*/ 671239 w 1166813"/>
                  <a:gd name="connsiteY146" fmla="*/ 735409 h 766763"/>
                  <a:gd name="connsiteX147" fmla="*/ 666955 w 1166813"/>
                  <a:gd name="connsiteY147" fmla="*/ 736121 h 766763"/>
                  <a:gd name="connsiteX148" fmla="*/ 662670 w 1166813"/>
                  <a:gd name="connsiteY148" fmla="*/ 736834 h 766763"/>
                  <a:gd name="connsiteX149" fmla="*/ 658386 w 1166813"/>
                  <a:gd name="connsiteY149" fmla="*/ 736834 h 766763"/>
                  <a:gd name="connsiteX150" fmla="*/ 652673 w 1166813"/>
                  <a:gd name="connsiteY150" fmla="*/ 737546 h 766763"/>
                  <a:gd name="connsiteX151" fmla="*/ 649102 w 1166813"/>
                  <a:gd name="connsiteY151" fmla="*/ 737546 h 766763"/>
                  <a:gd name="connsiteX152" fmla="*/ 640533 w 1166813"/>
                  <a:gd name="connsiteY152" fmla="*/ 738259 h 766763"/>
                  <a:gd name="connsiteX153" fmla="*/ 631250 w 1166813"/>
                  <a:gd name="connsiteY153" fmla="*/ 737546 h 766763"/>
                  <a:gd name="connsiteX154" fmla="*/ 627680 w 1166813"/>
                  <a:gd name="connsiteY154" fmla="*/ 737546 h 766763"/>
                  <a:gd name="connsiteX155" fmla="*/ 621967 w 1166813"/>
                  <a:gd name="connsiteY155" fmla="*/ 736834 h 766763"/>
                  <a:gd name="connsiteX156" fmla="*/ 617683 w 1166813"/>
                  <a:gd name="connsiteY156" fmla="*/ 736121 h 766763"/>
                  <a:gd name="connsiteX157" fmla="*/ 613398 w 1166813"/>
                  <a:gd name="connsiteY157" fmla="*/ 736121 h 766763"/>
                  <a:gd name="connsiteX158" fmla="*/ 607686 w 1166813"/>
                  <a:gd name="connsiteY158" fmla="*/ 734696 h 766763"/>
                  <a:gd name="connsiteX159" fmla="*/ 604115 w 1166813"/>
                  <a:gd name="connsiteY159" fmla="*/ 733983 h 766763"/>
                  <a:gd name="connsiteX160" fmla="*/ 598402 w 1166813"/>
                  <a:gd name="connsiteY160" fmla="*/ 733271 h 766763"/>
                  <a:gd name="connsiteX161" fmla="*/ 595546 w 1166813"/>
                  <a:gd name="connsiteY161" fmla="*/ 732558 h 766763"/>
                  <a:gd name="connsiteX162" fmla="*/ 589119 w 1166813"/>
                  <a:gd name="connsiteY162" fmla="*/ 730420 h 766763"/>
                  <a:gd name="connsiteX163" fmla="*/ 586977 w 1166813"/>
                  <a:gd name="connsiteY163" fmla="*/ 729708 h 766763"/>
                  <a:gd name="connsiteX164" fmla="*/ 580550 w 1166813"/>
                  <a:gd name="connsiteY164" fmla="*/ 727570 h 766763"/>
                  <a:gd name="connsiteX165" fmla="*/ 579122 w 1166813"/>
                  <a:gd name="connsiteY165" fmla="*/ 727570 h 766763"/>
                  <a:gd name="connsiteX166" fmla="*/ 571981 w 1166813"/>
                  <a:gd name="connsiteY166" fmla="*/ 724719 h 766763"/>
                  <a:gd name="connsiteX167" fmla="*/ 570553 w 1166813"/>
                  <a:gd name="connsiteY167" fmla="*/ 724007 h 766763"/>
                  <a:gd name="connsiteX168" fmla="*/ 564126 w 1166813"/>
                  <a:gd name="connsiteY168" fmla="*/ 721156 h 766763"/>
                  <a:gd name="connsiteX169" fmla="*/ 562698 w 1166813"/>
                  <a:gd name="connsiteY169" fmla="*/ 720444 h 766763"/>
                  <a:gd name="connsiteX170" fmla="*/ 555557 w 1166813"/>
                  <a:gd name="connsiteY170" fmla="*/ 716881 h 766763"/>
                  <a:gd name="connsiteX171" fmla="*/ 548417 w 1166813"/>
                  <a:gd name="connsiteY171" fmla="*/ 712605 h 766763"/>
                  <a:gd name="connsiteX172" fmla="*/ 547703 w 1166813"/>
                  <a:gd name="connsiteY172" fmla="*/ 712605 h 766763"/>
                  <a:gd name="connsiteX173" fmla="*/ 540562 w 1166813"/>
                  <a:gd name="connsiteY173" fmla="*/ 708330 h 766763"/>
                  <a:gd name="connsiteX174" fmla="*/ 514141 w 1166813"/>
                  <a:gd name="connsiteY174" fmla="*/ 686951 h 766763"/>
                  <a:gd name="connsiteX175" fmla="*/ 506286 w 1166813"/>
                  <a:gd name="connsiteY175" fmla="*/ 695503 h 766763"/>
                  <a:gd name="connsiteX176" fmla="*/ 505572 w 1166813"/>
                  <a:gd name="connsiteY176" fmla="*/ 695503 h 766763"/>
                  <a:gd name="connsiteX177" fmla="*/ 497717 w 1166813"/>
                  <a:gd name="connsiteY177" fmla="*/ 704054 h 766763"/>
                  <a:gd name="connsiteX178" fmla="*/ 497003 w 1166813"/>
                  <a:gd name="connsiteY178" fmla="*/ 704054 h 766763"/>
                  <a:gd name="connsiteX179" fmla="*/ 474152 w 1166813"/>
                  <a:gd name="connsiteY179" fmla="*/ 723294 h 766763"/>
                  <a:gd name="connsiteX180" fmla="*/ 472724 w 1166813"/>
                  <a:gd name="connsiteY180" fmla="*/ 724719 h 766763"/>
                  <a:gd name="connsiteX181" fmla="*/ 464869 w 1166813"/>
                  <a:gd name="connsiteY181" fmla="*/ 729708 h 766763"/>
                  <a:gd name="connsiteX182" fmla="*/ 462012 w 1166813"/>
                  <a:gd name="connsiteY182" fmla="*/ 731846 h 766763"/>
                  <a:gd name="connsiteX183" fmla="*/ 455586 w 1166813"/>
                  <a:gd name="connsiteY183" fmla="*/ 735409 h 766763"/>
                  <a:gd name="connsiteX184" fmla="*/ 452015 w 1166813"/>
                  <a:gd name="connsiteY184" fmla="*/ 737546 h 766763"/>
                  <a:gd name="connsiteX185" fmla="*/ 446303 w 1166813"/>
                  <a:gd name="connsiteY185" fmla="*/ 740397 h 766763"/>
                  <a:gd name="connsiteX186" fmla="*/ 441304 w 1166813"/>
                  <a:gd name="connsiteY186" fmla="*/ 743247 h 766763"/>
                  <a:gd name="connsiteX187" fmla="*/ 437734 w 1166813"/>
                  <a:gd name="connsiteY187" fmla="*/ 745385 h 766763"/>
                  <a:gd name="connsiteX188" fmla="*/ 430593 w 1166813"/>
                  <a:gd name="connsiteY188" fmla="*/ 748235 h 766763"/>
                  <a:gd name="connsiteX189" fmla="*/ 427022 w 1166813"/>
                  <a:gd name="connsiteY189" fmla="*/ 749661 h 766763"/>
                  <a:gd name="connsiteX190" fmla="*/ 419167 w 1166813"/>
                  <a:gd name="connsiteY190" fmla="*/ 752511 h 766763"/>
                  <a:gd name="connsiteX191" fmla="*/ 416311 w 1166813"/>
                  <a:gd name="connsiteY191" fmla="*/ 753936 h 766763"/>
                  <a:gd name="connsiteX192" fmla="*/ 408456 w 1166813"/>
                  <a:gd name="connsiteY192" fmla="*/ 756787 h 766763"/>
                  <a:gd name="connsiteX193" fmla="*/ 406314 w 1166813"/>
                  <a:gd name="connsiteY193" fmla="*/ 756787 h 766763"/>
                  <a:gd name="connsiteX194" fmla="*/ 397745 w 1166813"/>
                  <a:gd name="connsiteY194" fmla="*/ 759637 h 766763"/>
                  <a:gd name="connsiteX195" fmla="*/ 396317 w 1166813"/>
                  <a:gd name="connsiteY195" fmla="*/ 759637 h 766763"/>
                  <a:gd name="connsiteX196" fmla="*/ 387034 w 1166813"/>
                  <a:gd name="connsiteY196" fmla="*/ 761775 h 766763"/>
                  <a:gd name="connsiteX197" fmla="*/ 384891 w 1166813"/>
                  <a:gd name="connsiteY197" fmla="*/ 762488 h 766763"/>
                  <a:gd name="connsiteX198" fmla="*/ 374894 w 1166813"/>
                  <a:gd name="connsiteY198" fmla="*/ 763913 h 766763"/>
                  <a:gd name="connsiteX199" fmla="*/ 373466 w 1166813"/>
                  <a:gd name="connsiteY199" fmla="*/ 764625 h 766763"/>
                  <a:gd name="connsiteX200" fmla="*/ 363469 w 1166813"/>
                  <a:gd name="connsiteY200" fmla="*/ 766051 h 766763"/>
                  <a:gd name="connsiteX201" fmla="*/ 361327 w 1166813"/>
                  <a:gd name="connsiteY201" fmla="*/ 766051 h 766763"/>
                  <a:gd name="connsiteX202" fmla="*/ 351329 w 1166813"/>
                  <a:gd name="connsiteY202" fmla="*/ 766763 h 766763"/>
                  <a:gd name="connsiteX203" fmla="*/ 349901 w 1166813"/>
                  <a:gd name="connsiteY203" fmla="*/ 766763 h 766763"/>
                  <a:gd name="connsiteX204" fmla="*/ 339190 w 1166813"/>
                  <a:gd name="connsiteY204" fmla="*/ 766763 h 766763"/>
                  <a:gd name="connsiteX205" fmla="*/ 328479 w 1166813"/>
                  <a:gd name="connsiteY205" fmla="*/ 766763 h 766763"/>
                  <a:gd name="connsiteX206" fmla="*/ 326337 w 1166813"/>
                  <a:gd name="connsiteY206" fmla="*/ 766763 h 766763"/>
                  <a:gd name="connsiteX207" fmla="*/ 315625 w 1166813"/>
                  <a:gd name="connsiteY207" fmla="*/ 766051 h 766763"/>
                  <a:gd name="connsiteX208" fmla="*/ 314197 w 1166813"/>
                  <a:gd name="connsiteY208" fmla="*/ 766051 h 766763"/>
                  <a:gd name="connsiteX209" fmla="*/ 304914 w 1166813"/>
                  <a:gd name="connsiteY209" fmla="*/ 764625 h 766763"/>
                  <a:gd name="connsiteX210" fmla="*/ 303486 w 1166813"/>
                  <a:gd name="connsiteY210" fmla="*/ 764625 h 766763"/>
                  <a:gd name="connsiteX211" fmla="*/ 293489 w 1166813"/>
                  <a:gd name="connsiteY211" fmla="*/ 762488 h 766763"/>
                  <a:gd name="connsiteX212" fmla="*/ 291346 w 1166813"/>
                  <a:gd name="connsiteY212" fmla="*/ 761775 h 766763"/>
                  <a:gd name="connsiteX213" fmla="*/ 281349 w 1166813"/>
                  <a:gd name="connsiteY213" fmla="*/ 759637 h 766763"/>
                  <a:gd name="connsiteX214" fmla="*/ 271352 w 1166813"/>
                  <a:gd name="connsiteY214" fmla="*/ 756787 h 766763"/>
                  <a:gd name="connsiteX215" fmla="*/ 269924 w 1166813"/>
                  <a:gd name="connsiteY215" fmla="*/ 756074 h 766763"/>
                  <a:gd name="connsiteX216" fmla="*/ 260641 w 1166813"/>
                  <a:gd name="connsiteY216" fmla="*/ 753224 h 766763"/>
                  <a:gd name="connsiteX217" fmla="*/ 259213 w 1166813"/>
                  <a:gd name="connsiteY217" fmla="*/ 752511 h 766763"/>
                  <a:gd name="connsiteX218" fmla="*/ 251358 w 1166813"/>
                  <a:gd name="connsiteY218" fmla="*/ 749661 h 766763"/>
                  <a:gd name="connsiteX219" fmla="*/ 249216 w 1166813"/>
                  <a:gd name="connsiteY219" fmla="*/ 748948 h 766763"/>
                  <a:gd name="connsiteX220" fmla="*/ 240646 w 1166813"/>
                  <a:gd name="connsiteY220" fmla="*/ 744672 h 766763"/>
                  <a:gd name="connsiteX221" fmla="*/ 238504 w 1166813"/>
                  <a:gd name="connsiteY221" fmla="*/ 743960 h 766763"/>
                  <a:gd name="connsiteX222" fmla="*/ 230649 w 1166813"/>
                  <a:gd name="connsiteY222" fmla="*/ 739684 h 766763"/>
                  <a:gd name="connsiteX223" fmla="*/ 229221 w 1166813"/>
                  <a:gd name="connsiteY223" fmla="*/ 738972 h 766763"/>
                  <a:gd name="connsiteX224" fmla="*/ 221366 w 1166813"/>
                  <a:gd name="connsiteY224" fmla="*/ 734696 h 766763"/>
                  <a:gd name="connsiteX225" fmla="*/ 218510 w 1166813"/>
                  <a:gd name="connsiteY225" fmla="*/ 733271 h 766763"/>
                  <a:gd name="connsiteX226" fmla="*/ 211369 w 1166813"/>
                  <a:gd name="connsiteY226" fmla="*/ 728282 h 766763"/>
                  <a:gd name="connsiteX227" fmla="*/ 209227 w 1166813"/>
                  <a:gd name="connsiteY227" fmla="*/ 726857 h 766763"/>
                  <a:gd name="connsiteX228" fmla="*/ 202800 w 1166813"/>
                  <a:gd name="connsiteY228" fmla="*/ 722582 h 766763"/>
                  <a:gd name="connsiteX229" fmla="*/ 200658 w 1166813"/>
                  <a:gd name="connsiteY229" fmla="*/ 720444 h 766763"/>
                  <a:gd name="connsiteX230" fmla="*/ 193517 w 1166813"/>
                  <a:gd name="connsiteY230" fmla="*/ 715456 h 766763"/>
                  <a:gd name="connsiteX231" fmla="*/ 191375 w 1166813"/>
                  <a:gd name="connsiteY231" fmla="*/ 713318 h 766763"/>
                  <a:gd name="connsiteX232" fmla="*/ 185662 w 1166813"/>
                  <a:gd name="connsiteY232" fmla="*/ 708330 h 766763"/>
                  <a:gd name="connsiteX233" fmla="*/ 184234 w 1166813"/>
                  <a:gd name="connsiteY233" fmla="*/ 706904 h 766763"/>
                  <a:gd name="connsiteX234" fmla="*/ 177807 w 1166813"/>
                  <a:gd name="connsiteY234" fmla="*/ 700491 h 766763"/>
                  <a:gd name="connsiteX235" fmla="*/ 174951 w 1166813"/>
                  <a:gd name="connsiteY235" fmla="*/ 698353 h 766763"/>
                  <a:gd name="connsiteX236" fmla="*/ 169238 w 1166813"/>
                  <a:gd name="connsiteY236" fmla="*/ 691940 h 766763"/>
                  <a:gd name="connsiteX237" fmla="*/ 167096 w 1166813"/>
                  <a:gd name="connsiteY237" fmla="*/ 689802 h 766763"/>
                  <a:gd name="connsiteX238" fmla="*/ 162811 w 1166813"/>
                  <a:gd name="connsiteY238" fmla="*/ 684814 h 766763"/>
                  <a:gd name="connsiteX239" fmla="*/ 160669 w 1166813"/>
                  <a:gd name="connsiteY239" fmla="*/ 682676 h 766763"/>
                  <a:gd name="connsiteX240" fmla="*/ 154956 w 1166813"/>
                  <a:gd name="connsiteY240" fmla="*/ 675550 h 766763"/>
                  <a:gd name="connsiteX241" fmla="*/ 153528 w 1166813"/>
                  <a:gd name="connsiteY241" fmla="*/ 672699 h 766763"/>
                  <a:gd name="connsiteX242" fmla="*/ 149244 w 1166813"/>
                  <a:gd name="connsiteY242" fmla="*/ 666998 h 766763"/>
                  <a:gd name="connsiteX243" fmla="*/ 147816 w 1166813"/>
                  <a:gd name="connsiteY243" fmla="*/ 664861 h 766763"/>
                  <a:gd name="connsiteX244" fmla="*/ 139247 w 1166813"/>
                  <a:gd name="connsiteY244" fmla="*/ 662010 h 766763"/>
                  <a:gd name="connsiteX245" fmla="*/ 135676 w 1166813"/>
                  <a:gd name="connsiteY245" fmla="*/ 660585 h 766763"/>
                  <a:gd name="connsiteX246" fmla="*/ 129964 w 1166813"/>
                  <a:gd name="connsiteY246" fmla="*/ 658447 h 766763"/>
                  <a:gd name="connsiteX247" fmla="*/ 127107 w 1166813"/>
                  <a:gd name="connsiteY247" fmla="*/ 657022 h 766763"/>
                  <a:gd name="connsiteX248" fmla="*/ 121394 w 1166813"/>
                  <a:gd name="connsiteY248" fmla="*/ 654884 h 766763"/>
                  <a:gd name="connsiteX249" fmla="*/ 117824 w 1166813"/>
                  <a:gd name="connsiteY249" fmla="*/ 653459 h 766763"/>
                  <a:gd name="connsiteX250" fmla="*/ 112111 w 1166813"/>
                  <a:gd name="connsiteY250" fmla="*/ 649896 h 766763"/>
                  <a:gd name="connsiteX251" fmla="*/ 109969 w 1166813"/>
                  <a:gd name="connsiteY251" fmla="*/ 649183 h 766763"/>
                  <a:gd name="connsiteX252" fmla="*/ 102114 w 1166813"/>
                  <a:gd name="connsiteY252" fmla="*/ 644195 h 766763"/>
                  <a:gd name="connsiteX253" fmla="*/ 99258 w 1166813"/>
                  <a:gd name="connsiteY253" fmla="*/ 642770 h 766763"/>
                  <a:gd name="connsiteX254" fmla="*/ 94259 w 1166813"/>
                  <a:gd name="connsiteY254" fmla="*/ 639207 h 766763"/>
                  <a:gd name="connsiteX255" fmla="*/ 91403 w 1166813"/>
                  <a:gd name="connsiteY255" fmla="*/ 637782 h 766763"/>
                  <a:gd name="connsiteX256" fmla="*/ 86404 w 1166813"/>
                  <a:gd name="connsiteY256" fmla="*/ 634219 h 766763"/>
                  <a:gd name="connsiteX257" fmla="*/ 83548 w 1166813"/>
                  <a:gd name="connsiteY257" fmla="*/ 632081 h 766763"/>
                  <a:gd name="connsiteX258" fmla="*/ 78549 w 1166813"/>
                  <a:gd name="connsiteY258" fmla="*/ 628518 h 766763"/>
                  <a:gd name="connsiteX259" fmla="*/ 76407 w 1166813"/>
                  <a:gd name="connsiteY259" fmla="*/ 626380 h 766763"/>
                  <a:gd name="connsiteX260" fmla="*/ 69266 w 1166813"/>
                  <a:gd name="connsiteY260" fmla="*/ 620679 h 766763"/>
                  <a:gd name="connsiteX261" fmla="*/ 67838 w 1166813"/>
                  <a:gd name="connsiteY261" fmla="*/ 619254 h 766763"/>
                  <a:gd name="connsiteX262" fmla="*/ 62126 w 1166813"/>
                  <a:gd name="connsiteY262" fmla="*/ 614266 h 766763"/>
                  <a:gd name="connsiteX263" fmla="*/ 59983 w 1166813"/>
                  <a:gd name="connsiteY263" fmla="*/ 612128 h 766763"/>
                  <a:gd name="connsiteX264" fmla="*/ 55699 w 1166813"/>
                  <a:gd name="connsiteY264" fmla="*/ 607140 h 766763"/>
                  <a:gd name="connsiteX265" fmla="*/ 53557 w 1166813"/>
                  <a:gd name="connsiteY265" fmla="*/ 605002 h 766763"/>
                  <a:gd name="connsiteX266" fmla="*/ 49272 w 1166813"/>
                  <a:gd name="connsiteY266" fmla="*/ 600014 h 766763"/>
                  <a:gd name="connsiteX267" fmla="*/ 47844 w 1166813"/>
                  <a:gd name="connsiteY267" fmla="*/ 597876 h 766763"/>
                  <a:gd name="connsiteX268" fmla="*/ 42131 w 1166813"/>
                  <a:gd name="connsiteY268" fmla="*/ 590750 h 766763"/>
                  <a:gd name="connsiteX269" fmla="*/ 41417 w 1166813"/>
                  <a:gd name="connsiteY269" fmla="*/ 590750 h 766763"/>
                  <a:gd name="connsiteX270" fmla="*/ 36419 w 1166813"/>
                  <a:gd name="connsiteY270" fmla="*/ 582911 h 766763"/>
                  <a:gd name="connsiteX271" fmla="*/ 34990 w 1166813"/>
                  <a:gd name="connsiteY271" fmla="*/ 580773 h 766763"/>
                  <a:gd name="connsiteX272" fmla="*/ 31420 w 1166813"/>
                  <a:gd name="connsiteY272" fmla="*/ 575072 h 766763"/>
                  <a:gd name="connsiteX273" fmla="*/ 29278 w 1166813"/>
                  <a:gd name="connsiteY273" fmla="*/ 572222 h 766763"/>
                  <a:gd name="connsiteX274" fmla="*/ 26421 w 1166813"/>
                  <a:gd name="connsiteY274" fmla="*/ 567234 h 766763"/>
                  <a:gd name="connsiteX275" fmla="*/ 24993 w 1166813"/>
                  <a:gd name="connsiteY275" fmla="*/ 564383 h 766763"/>
                  <a:gd name="connsiteX276" fmla="*/ 21423 w 1166813"/>
                  <a:gd name="connsiteY276" fmla="*/ 557970 h 766763"/>
                  <a:gd name="connsiteX277" fmla="*/ 20709 w 1166813"/>
                  <a:gd name="connsiteY277" fmla="*/ 555832 h 766763"/>
                  <a:gd name="connsiteX278" fmla="*/ 16424 w 1166813"/>
                  <a:gd name="connsiteY278" fmla="*/ 547281 h 766763"/>
                  <a:gd name="connsiteX279" fmla="*/ 15710 w 1166813"/>
                  <a:gd name="connsiteY279" fmla="*/ 545143 h 766763"/>
                  <a:gd name="connsiteX280" fmla="*/ 13568 w 1166813"/>
                  <a:gd name="connsiteY280" fmla="*/ 538730 h 766763"/>
                  <a:gd name="connsiteX281" fmla="*/ 12140 w 1166813"/>
                  <a:gd name="connsiteY281" fmla="*/ 535879 h 766763"/>
                  <a:gd name="connsiteX282" fmla="*/ 9997 w 1166813"/>
                  <a:gd name="connsiteY282" fmla="*/ 530178 h 766763"/>
                  <a:gd name="connsiteX283" fmla="*/ 9283 w 1166813"/>
                  <a:gd name="connsiteY283" fmla="*/ 526615 h 766763"/>
                  <a:gd name="connsiteX284" fmla="*/ 7141 w 1166813"/>
                  <a:gd name="connsiteY284" fmla="*/ 520202 h 766763"/>
                  <a:gd name="connsiteX285" fmla="*/ 6427 w 1166813"/>
                  <a:gd name="connsiteY285" fmla="*/ 517351 h 766763"/>
                  <a:gd name="connsiteX286" fmla="*/ 4285 w 1166813"/>
                  <a:gd name="connsiteY286" fmla="*/ 508088 h 766763"/>
                  <a:gd name="connsiteX287" fmla="*/ 4285 w 1166813"/>
                  <a:gd name="connsiteY287" fmla="*/ 506662 h 766763"/>
                  <a:gd name="connsiteX288" fmla="*/ 2857 w 1166813"/>
                  <a:gd name="connsiteY288" fmla="*/ 498824 h 766763"/>
                  <a:gd name="connsiteX289" fmla="*/ 2143 w 1166813"/>
                  <a:gd name="connsiteY289" fmla="*/ 495261 h 766763"/>
                  <a:gd name="connsiteX290" fmla="*/ 1428 w 1166813"/>
                  <a:gd name="connsiteY290" fmla="*/ 488847 h 766763"/>
                  <a:gd name="connsiteX291" fmla="*/ 714 w 1166813"/>
                  <a:gd name="connsiteY291" fmla="*/ 485284 h 766763"/>
                  <a:gd name="connsiteX292" fmla="*/ 714 w 1166813"/>
                  <a:gd name="connsiteY292" fmla="*/ 478871 h 766763"/>
                  <a:gd name="connsiteX293" fmla="*/ 0 w 1166813"/>
                  <a:gd name="connsiteY293" fmla="*/ 476020 h 766763"/>
                  <a:gd name="connsiteX294" fmla="*/ 0 w 1166813"/>
                  <a:gd name="connsiteY294" fmla="*/ 466044 h 766763"/>
                  <a:gd name="connsiteX295" fmla="*/ 179949 w 1166813"/>
                  <a:gd name="connsiteY295" fmla="*/ 260101 h 766763"/>
                  <a:gd name="connsiteX296" fmla="*/ 179235 w 1166813"/>
                  <a:gd name="connsiteY296" fmla="*/ 235872 h 766763"/>
                  <a:gd name="connsiteX297" fmla="*/ 417739 w 1166813"/>
                  <a:gd name="connsiteY297" fmla="*/ 0 h 76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166813" h="766763">
                    <a:moveTo>
                      <a:pt x="822458" y="412750"/>
                    </a:moveTo>
                    <a:cubicBezTo>
                      <a:pt x="813143" y="412750"/>
                      <a:pt x="804544" y="414872"/>
                      <a:pt x="796661" y="419822"/>
                    </a:cubicBezTo>
                    <a:cubicBezTo>
                      <a:pt x="788779" y="424772"/>
                      <a:pt x="783046" y="430429"/>
                      <a:pt x="779463" y="438208"/>
                    </a:cubicBezTo>
                    <a:cubicBezTo>
                      <a:pt x="779463" y="438208"/>
                      <a:pt x="779463" y="438208"/>
                      <a:pt x="798094" y="452351"/>
                    </a:cubicBezTo>
                    <a:cubicBezTo>
                      <a:pt x="804544" y="441036"/>
                      <a:pt x="813143" y="435379"/>
                      <a:pt x="823891" y="435379"/>
                    </a:cubicBezTo>
                    <a:cubicBezTo>
                      <a:pt x="838223" y="435379"/>
                      <a:pt x="844672" y="441036"/>
                      <a:pt x="844672" y="453058"/>
                    </a:cubicBezTo>
                    <a:cubicBezTo>
                      <a:pt x="844672" y="462958"/>
                      <a:pt x="840373" y="474980"/>
                      <a:pt x="830341" y="489123"/>
                    </a:cubicBezTo>
                    <a:cubicBezTo>
                      <a:pt x="830341" y="489123"/>
                      <a:pt x="830341" y="489123"/>
                      <a:pt x="780896" y="560546"/>
                    </a:cubicBezTo>
                    <a:cubicBezTo>
                      <a:pt x="780896" y="560546"/>
                      <a:pt x="780896" y="560546"/>
                      <a:pt x="780896" y="568325"/>
                    </a:cubicBezTo>
                    <a:cubicBezTo>
                      <a:pt x="780896" y="568325"/>
                      <a:pt x="780896" y="568325"/>
                      <a:pt x="882651" y="568325"/>
                    </a:cubicBezTo>
                    <a:cubicBezTo>
                      <a:pt x="882651" y="568325"/>
                      <a:pt x="882651" y="568325"/>
                      <a:pt x="882651" y="544282"/>
                    </a:cubicBezTo>
                    <a:cubicBezTo>
                      <a:pt x="882651" y="544282"/>
                      <a:pt x="882651" y="544282"/>
                      <a:pt x="824608" y="544282"/>
                    </a:cubicBezTo>
                    <a:cubicBezTo>
                      <a:pt x="824608" y="544282"/>
                      <a:pt x="824608" y="544282"/>
                      <a:pt x="856138" y="496195"/>
                    </a:cubicBezTo>
                    <a:cubicBezTo>
                      <a:pt x="867603" y="479223"/>
                      <a:pt x="873336" y="464373"/>
                      <a:pt x="873336" y="453058"/>
                    </a:cubicBezTo>
                    <a:cubicBezTo>
                      <a:pt x="873336" y="440329"/>
                      <a:pt x="869036" y="430429"/>
                      <a:pt x="860437" y="423358"/>
                    </a:cubicBezTo>
                    <a:cubicBezTo>
                      <a:pt x="851122" y="416286"/>
                      <a:pt x="838940" y="412750"/>
                      <a:pt x="822458" y="412750"/>
                    </a:cubicBezTo>
                    <a:close/>
                    <a:moveTo>
                      <a:pt x="631630" y="295275"/>
                    </a:moveTo>
                    <a:cubicBezTo>
                      <a:pt x="677269" y="295275"/>
                      <a:pt x="700088" y="325955"/>
                      <a:pt x="700088" y="388741"/>
                    </a:cubicBezTo>
                    <a:cubicBezTo>
                      <a:pt x="700088" y="420135"/>
                      <a:pt x="694383" y="444393"/>
                      <a:pt x="681548" y="460803"/>
                    </a:cubicBezTo>
                    <a:cubicBezTo>
                      <a:pt x="669425" y="477927"/>
                      <a:pt x="651597" y="485775"/>
                      <a:pt x="628065" y="485775"/>
                    </a:cubicBezTo>
                    <a:cubicBezTo>
                      <a:pt x="608098" y="485775"/>
                      <a:pt x="592410" y="477927"/>
                      <a:pt x="582426" y="460803"/>
                    </a:cubicBezTo>
                    <a:cubicBezTo>
                      <a:pt x="572443" y="443680"/>
                      <a:pt x="566738" y="419421"/>
                      <a:pt x="566738" y="388741"/>
                    </a:cubicBezTo>
                    <a:cubicBezTo>
                      <a:pt x="566738" y="360202"/>
                      <a:pt x="572443" y="337371"/>
                      <a:pt x="583140" y="320247"/>
                    </a:cubicBezTo>
                    <a:cubicBezTo>
                      <a:pt x="594549" y="303837"/>
                      <a:pt x="610237" y="295275"/>
                      <a:pt x="631630" y="295275"/>
                    </a:cubicBezTo>
                    <a:close/>
                    <a:moveTo>
                      <a:pt x="631630" y="252413"/>
                    </a:moveTo>
                    <a:cubicBezTo>
                      <a:pt x="596685" y="252413"/>
                      <a:pt x="568872" y="265253"/>
                      <a:pt x="548191" y="291647"/>
                    </a:cubicBezTo>
                    <a:cubicBezTo>
                      <a:pt x="527509" y="318041"/>
                      <a:pt x="517525" y="350141"/>
                      <a:pt x="517525" y="387949"/>
                    </a:cubicBezTo>
                    <a:cubicBezTo>
                      <a:pt x="517525" y="430749"/>
                      <a:pt x="526796" y="464990"/>
                      <a:pt x="546051" y="489957"/>
                    </a:cubicBezTo>
                    <a:cubicBezTo>
                      <a:pt x="564593" y="514924"/>
                      <a:pt x="592406" y="527051"/>
                      <a:pt x="628064" y="527051"/>
                    </a:cubicBezTo>
                    <a:cubicBezTo>
                      <a:pt x="666574" y="527051"/>
                      <a:pt x="696527" y="514924"/>
                      <a:pt x="717921" y="489244"/>
                    </a:cubicBezTo>
                    <a:cubicBezTo>
                      <a:pt x="738603" y="464277"/>
                      <a:pt x="749300" y="430749"/>
                      <a:pt x="749300" y="387949"/>
                    </a:cubicBezTo>
                    <a:cubicBezTo>
                      <a:pt x="749300" y="345148"/>
                      <a:pt x="739316" y="311621"/>
                      <a:pt x="718635" y="288080"/>
                    </a:cubicBezTo>
                    <a:cubicBezTo>
                      <a:pt x="698666" y="264540"/>
                      <a:pt x="669427" y="252413"/>
                      <a:pt x="631630" y="252413"/>
                    </a:cubicBezTo>
                    <a:close/>
                    <a:moveTo>
                      <a:pt x="412336" y="252413"/>
                    </a:moveTo>
                    <a:cubicBezTo>
                      <a:pt x="376715" y="252413"/>
                      <a:pt x="347506" y="265967"/>
                      <a:pt x="324709" y="292360"/>
                    </a:cubicBezTo>
                    <a:cubicBezTo>
                      <a:pt x="301912" y="318754"/>
                      <a:pt x="290513" y="351568"/>
                      <a:pt x="290513" y="390802"/>
                    </a:cubicBezTo>
                    <a:cubicBezTo>
                      <a:pt x="290513" y="432890"/>
                      <a:pt x="301199" y="466417"/>
                      <a:pt x="321859" y="490671"/>
                    </a:cubicBezTo>
                    <a:cubicBezTo>
                      <a:pt x="341807" y="514924"/>
                      <a:pt x="371016" y="527051"/>
                      <a:pt x="408061" y="527051"/>
                    </a:cubicBezTo>
                    <a:cubicBezTo>
                      <a:pt x="445107" y="527051"/>
                      <a:pt x="472891" y="517064"/>
                      <a:pt x="492126" y="496377"/>
                    </a:cubicBezTo>
                    <a:cubicBezTo>
                      <a:pt x="492126" y="496377"/>
                      <a:pt x="492126" y="496377"/>
                      <a:pt x="470041" y="458570"/>
                    </a:cubicBezTo>
                    <a:cubicBezTo>
                      <a:pt x="456506" y="476404"/>
                      <a:pt x="436558" y="484964"/>
                      <a:pt x="411624" y="484964"/>
                    </a:cubicBezTo>
                    <a:cubicBezTo>
                      <a:pt x="389539" y="484964"/>
                      <a:pt x="372441" y="477117"/>
                      <a:pt x="359617" y="459997"/>
                    </a:cubicBezTo>
                    <a:cubicBezTo>
                      <a:pt x="346081" y="443590"/>
                      <a:pt x="339670" y="420763"/>
                      <a:pt x="339670" y="392942"/>
                    </a:cubicBezTo>
                    <a:cubicBezTo>
                      <a:pt x="339670" y="364408"/>
                      <a:pt x="346794" y="340868"/>
                      <a:pt x="361042" y="322321"/>
                    </a:cubicBezTo>
                    <a:cubicBezTo>
                      <a:pt x="375290" y="303774"/>
                      <a:pt x="393101" y="294501"/>
                      <a:pt x="415186" y="294501"/>
                    </a:cubicBezTo>
                    <a:cubicBezTo>
                      <a:pt x="438695" y="294501"/>
                      <a:pt x="455081" y="299494"/>
                      <a:pt x="465767" y="310194"/>
                    </a:cubicBezTo>
                    <a:cubicBezTo>
                      <a:pt x="465767" y="310194"/>
                      <a:pt x="465767" y="310194"/>
                      <a:pt x="485002" y="271673"/>
                    </a:cubicBezTo>
                    <a:cubicBezTo>
                      <a:pt x="467192" y="258833"/>
                      <a:pt x="442970" y="252413"/>
                      <a:pt x="412336" y="252413"/>
                    </a:cubicBezTo>
                    <a:close/>
                    <a:moveTo>
                      <a:pt x="417739" y="0"/>
                    </a:moveTo>
                    <a:cubicBezTo>
                      <a:pt x="500573" y="0"/>
                      <a:pt x="573410" y="41331"/>
                      <a:pt x="616255" y="104040"/>
                    </a:cubicBezTo>
                    <a:cubicBezTo>
                      <a:pt x="643390" y="86938"/>
                      <a:pt x="675524" y="76961"/>
                      <a:pt x="709800" y="76961"/>
                    </a:cubicBezTo>
                    <a:cubicBezTo>
                      <a:pt x="805487" y="76961"/>
                      <a:pt x="882608" y="153923"/>
                      <a:pt x="884036" y="248699"/>
                    </a:cubicBezTo>
                    <a:cubicBezTo>
                      <a:pt x="884750" y="248699"/>
                      <a:pt x="884750" y="248699"/>
                      <a:pt x="885464" y="248699"/>
                    </a:cubicBezTo>
                    <a:cubicBezTo>
                      <a:pt x="886892" y="248699"/>
                      <a:pt x="889035" y="248699"/>
                      <a:pt x="891177" y="248699"/>
                    </a:cubicBezTo>
                    <a:cubicBezTo>
                      <a:pt x="950446" y="250837"/>
                      <a:pt x="1001860" y="285755"/>
                      <a:pt x="1026853" y="336350"/>
                    </a:cubicBezTo>
                    <a:cubicBezTo>
                      <a:pt x="1041849" y="339200"/>
                      <a:pt x="1055416" y="343476"/>
                      <a:pt x="1068984" y="349889"/>
                    </a:cubicBezTo>
                    <a:cubicBezTo>
                      <a:pt x="1068984" y="349889"/>
                      <a:pt x="1068984" y="349889"/>
                      <a:pt x="1069698" y="349889"/>
                    </a:cubicBezTo>
                    <a:cubicBezTo>
                      <a:pt x="1073268" y="352027"/>
                      <a:pt x="1077553" y="354165"/>
                      <a:pt x="1081123" y="356303"/>
                    </a:cubicBezTo>
                    <a:cubicBezTo>
                      <a:pt x="1081837" y="357015"/>
                      <a:pt x="1082551" y="357015"/>
                      <a:pt x="1083265" y="357728"/>
                    </a:cubicBezTo>
                    <a:cubicBezTo>
                      <a:pt x="1088264" y="360578"/>
                      <a:pt x="1092548" y="363429"/>
                      <a:pt x="1096833" y="366279"/>
                    </a:cubicBezTo>
                    <a:cubicBezTo>
                      <a:pt x="1100403" y="369130"/>
                      <a:pt x="1103974" y="371980"/>
                      <a:pt x="1107544" y="374830"/>
                    </a:cubicBezTo>
                    <a:cubicBezTo>
                      <a:pt x="1109686" y="376968"/>
                      <a:pt x="1111829" y="379106"/>
                      <a:pt x="1113971" y="381244"/>
                    </a:cubicBezTo>
                    <a:cubicBezTo>
                      <a:pt x="1119684" y="386232"/>
                      <a:pt x="1125396" y="392646"/>
                      <a:pt x="1130395" y="398346"/>
                    </a:cubicBezTo>
                    <a:cubicBezTo>
                      <a:pt x="1136108" y="405472"/>
                      <a:pt x="1141106" y="413311"/>
                      <a:pt x="1145391" y="421150"/>
                    </a:cubicBezTo>
                    <a:cubicBezTo>
                      <a:pt x="1153246" y="434689"/>
                      <a:pt x="1158958" y="449654"/>
                      <a:pt x="1162529" y="466044"/>
                    </a:cubicBezTo>
                    <a:cubicBezTo>
                      <a:pt x="1165385" y="478158"/>
                      <a:pt x="1166813" y="490272"/>
                      <a:pt x="1166813" y="503812"/>
                    </a:cubicBezTo>
                    <a:cubicBezTo>
                      <a:pt x="1166813" y="506662"/>
                      <a:pt x="1166813" y="509513"/>
                      <a:pt x="1166813" y="512363"/>
                    </a:cubicBezTo>
                    <a:cubicBezTo>
                      <a:pt x="1166099" y="520914"/>
                      <a:pt x="1165385" y="529466"/>
                      <a:pt x="1163243" y="538017"/>
                    </a:cubicBezTo>
                    <a:cubicBezTo>
                      <a:pt x="1162529" y="540867"/>
                      <a:pt x="1161815" y="543718"/>
                      <a:pt x="1161101" y="546568"/>
                    </a:cubicBezTo>
                    <a:cubicBezTo>
                      <a:pt x="1142534" y="619967"/>
                      <a:pt x="1074696" y="674125"/>
                      <a:pt x="994005" y="674125"/>
                    </a:cubicBezTo>
                    <a:cubicBezTo>
                      <a:pt x="986864" y="674125"/>
                      <a:pt x="976153" y="674125"/>
                      <a:pt x="961871" y="674125"/>
                    </a:cubicBezTo>
                    <a:cubicBezTo>
                      <a:pt x="961871" y="674837"/>
                      <a:pt x="961157" y="674837"/>
                      <a:pt x="961157" y="674837"/>
                    </a:cubicBezTo>
                    <a:cubicBezTo>
                      <a:pt x="959729" y="676262"/>
                      <a:pt x="957587" y="677688"/>
                      <a:pt x="956158" y="679113"/>
                    </a:cubicBezTo>
                    <a:cubicBezTo>
                      <a:pt x="955444" y="679825"/>
                      <a:pt x="954730" y="680538"/>
                      <a:pt x="954016" y="681251"/>
                    </a:cubicBezTo>
                    <a:cubicBezTo>
                      <a:pt x="952588" y="681963"/>
                      <a:pt x="951160" y="682676"/>
                      <a:pt x="950446" y="684101"/>
                    </a:cubicBezTo>
                    <a:cubicBezTo>
                      <a:pt x="949018" y="684814"/>
                      <a:pt x="948304" y="685526"/>
                      <a:pt x="947589" y="685526"/>
                    </a:cubicBezTo>
                    <a:cubicBezTo>
                      <a:pt x="946161" y="686951"/>
                      <a:pt x="945447" y="687664"/>
                      <a:pt x="944019" y="688377"/>
                    </a:cubicBezTo>
                    <a:cubicBezTo>
                      <a:pt x="943305" y="689089"/>
                      <a:pt x="941877" y="689802"/>
                      <a:pt x="941163" y="690514"/>
                    </a:cubicBezTo>
                    <a:cubicBezTo>
                      <a:pt x="939735" y="691227"/>
                      <a:pt x="939020" y="691940"/>
                      <a:pt x="937592" y="692652"/>
                    </a:cubicBezTo>
                    <a:cubicBezTo>
                      <a:pt x="936878" y="693365"/>
                      <a:pt x="935450" y="693365"/>
                      <a:pt x="934736" y="694077"/>
                    </a:cubicBezTo>
                    <a:cubicBezTo>
                      <a:pt x="933308" y="694790"/>
                      <a:pt x="932594" y="695503"/>
                      <a:pt x="931166" y="696215"/>
                    </a:cubicBezTo>
                    <a:cubicBezTo>
                      <a:pt x="929737" y="696928"/>
                      <a:pt x="929023" y="697640"/>
                      <a:pt x="928309" y="697640"/>
                    </a:cubicBezTo>
                    <a:cubicBezTo>
                      <a:pt x="926881" y="698353"/>
                      <a:pt x="925453" y="699066"/>
                      <a:pt x="924025" y="699778"/>
                    </a:cubicBezTo>
                    <a:cubicBezTo>
                      <a:pt x="923311" y="700491"/>
                      <a:pt x="921882" y="701203"/>
                      <a:pt x="921168" y="701203"/>
                    </a:cubicBezTo>
                    <a:cubicBezTo>
                      <a:pt x="919740" y="701916"/>
                      <a:pt x="918312" y="702629"/>
                      <a:pt x="917598" y="703341"/>
                    </a:cubicBezTo>
                    <a:cubicBezTo>
                      <a:pt x="916170" y="703341"/>
                      <a:pt x="915456" y="704054"/>
                      <a:pt x="914028" y="704767"/>
                    </a:cubicBezTo>
                    <a:cubicBezTo>
                      <a:pt x="912599" y="704767"/>
                      <a:pt x="911171" y="705479"/>
                      <a:pt x="910457" y="706192"/>
                    </a:cubicBezTo>
                    <a:cubicBezTo>
                      <a:pt x="909029" y="706192"/>
                      <a:pt x="908315" y="706904"/>
                      <a:pt x="906887" y="706904"/>
                    </a:cubicBezTo>
                    <a:cubicBezTo>
                      <a:pt x="905459" y="707617"/>
                      <a:pt x="904030" y="708330"/>
                      <a:pt x="902602" y="708330"/>
                    </a:cubicBezTo>
                    <a:cubicBezTo>
                      <a:pt x="901888" y="709042"/>
                      <a:pt x="900460" y="709042"/>
                      <a:pt x="899746" y="709755"/>
                    </a:cubicBezTo>
                    <a:cubicBezTo>
                      <a:pt x="898318" y="709755"/>
                      <a:pt x="896890" y="710467"/>
                      <a:pt x="896175" y="710467"/>
                    </a:cubicBezTo>
                    <a:cubicBezTo>
                      <a:pt x="894747" y="711180"/>
                      <a:pt x="894033" y="711180"/>
                      <a:pt x="892605" y="711893"/>
                    </a:cubicBezTo>
                    <a:cubicBezTo>
                      <a:pt x="891177" y="711893"/>
                      <a:pt x="889749" y="712605"/>
                      <a:pt x="888321" y="712605"/>
                    </a:cubicBezTo>
                    <a:cubicBezTo>
                      <a:pt x="887606" y="712605"/>
                      <a:pt x="886178" y="713318"/>
                      <a:pt x="885464" y="713318"/>
                    </a:cubicBezTo>
                    <a:cubicBezTo>
                      <a:pt x="883322" y="713318"/>
                      <a:pt x="881894" y="714030"/>
                      <a:pt x="880466" y="714030"/>
                    </a:cubicBezTo>
                    <a:cubicBezTo>
                      <a:pt x="879752" y="714030"/>
                      <a:pt x="878323" y="714743"/>
                      <a:pt x="877609" y="714743"/>
                    </a:cubicBezTo>
                    <a:cubicBezTo>
                      <a:pt x="875467" y="714743"/>
                      <a:pt x="874039" y="715456"/>
                      <a:pt x="872611" y="715456"/>
                    </a:cubicBezTo>
                    <a:cubicBezTo>
                      <a:pt x="871897" y="715456"/>
                      <a:pt x="870468" y="715456"/>
                      <a:pt x="869754" y="715456"/>
                    </a:cubicBezTo>
                    <a:cubicBezTo>
                      <a:pt x="867612" y="716168"/>
                      <a:pt x="866184" y="716168"/>
                      <a:pt x="864042" y="716168"/>
                    </a:cubicBezTo>
                    <a:cubicBezTo>
                      <a:pt x="863328" y="716168"/>
                      <a:pt x="862614" y="716168"/>
                      <a:pt x="861185" y="716168"/>
                    </a:cubicBezTo>
                    <a:cubicBezTo>
                      <a:pt x="859043" y="716168"/>
                      <a:pt x="856187" y="716168"/>
                      <a:pt x="854044" y="716168"/>
                    </a:cubicBezTo>
                    <a:cubicBezTo>
                      <a:pt x="853330" y="716168"/>
                      <a:pt x="853330" y="716168"/>
                      <a:pt x="853330" y="716168"/>
                    </a:cubicBezTo>
                    <a:cubicBezTo>
                      <a:pt x="850474" y="716168"/>
                      <a:pt x="848332" y="716168"/>
                      <a:pt x="846190" y="716168"/>
                    </a:cubicBezTo>
                    <a:cubicBezTo>
                      <a:pt x="845475" y="716168"/>
                      <a:pt x="844047" y="716168"/>
                      <a:pt x="843333" y="716168"/>
                    </a:cubicBezTo>
                    <a:cubicBezTo>
                      <a:pt x="841905" y="716168"/>
                      <a:pt x="839763" y="716168"/>
                      <a:pt x="838335" y="715456"/>
                    </a:cubicBezTo>
                    <a:cubicBezTo>
                      <a:pt x="837621" y="715456"/>
                      <a:pt x="836906" y="715456"/>
                      <a:pt x="836192" y="715456"/>
                    </a:cubicBezTo>
                    <a:cubicBezTo>
                      <a:pt x="833336" y="715456"/>
                      <a:pt x="831194" y="714743"/>
                      <a:pt x="829052" y="714743"/>
                    </a:cubicBezTo>
                    <a:cubicBezTo>
                      <a:pt x="828337" y="714743"/>
                      <a:pt x="827623" y="714743"/>
                      <a:pt x="827623" y="714743"/>
                    </a:cubicBezTo>
                    <a:cubicBezTo>
                      <a:pt x="825481" y="714030"/>
                      <a:pt x="823339" y="714030"/>
                      <a:pt x="821911" y="713318"/>
                    </a:cubicBezTo>
                    <a:cubicBezTo>
                      <a:pt x="821197" y="713318"/>
                      <a:pt x="819768" y="713318"/>
                      <a:pt x="819054" y="712605"/>
                    </a:cubicBezTo>
                    <a:cubicBezTo>
                      <a:pt x="817626" y="712605"/>
                      <a:pt x="816198" y="711893"/>
                      <a:pt x="814770" y="711893"/>
                    </a:cubicBezTo>
                    <a:cubicBezTo>
                      <a:pt x="814056" y="711893"/>
                      <a:pt x="812628" y="711180"/>
                      <a:pt x="811914" y="711180"/>
                    </a:cubicBezTo>
                    <a:cubicBezTo>
                      <a:pt x="809771" y="710467"/>
                      <a:pt x="807629" y="709755"/>
                      <a:pt x="805487" y="709042"/>
                    </a:cubicBezTo>
                    <a:cubicBezTo>
                      <a:pt x="804773" y="709042"/>
                      <a:pt x="804059" y="709042"/>
                      <a:pt x="802630" y="708330"/>
                    </a:cubicBezTo>
                    <a:cubicBezTo>
                      <a:pt x="801916" y="708330"/>
                      <a:pt x="800488" y="707617"/>
                      <a:pt x="799060" y="706904"/>
                    </a:cubicBezTo>
                    <a:cubicBezTo>
                      <a:pt x="797632" y="706904"/>
                      <a:pt x="796918" y="706192"/>
                      <a:pt x="795490" y="706192"/>
                    </a:cubicBezTo>
                    <a:cubicBezTo>
                      <a:pt x="794776" y="705479"/>
                      <a:pt x="793347" y="704767"/>
                      <a:pt x="792633" y="704767"/>
                    </a:cubicBezTo>
                    <a:cubicBezTo>
                      <a:pt x="791205" y="704054"/>
                      <a:pt x="790491" y="704054"/>
                      <a:pt x="789063" y="703341"/>
                    </a:cubicBezTo>
                    <a:cubicBezTo>
                      <a:pt x="787635" y="702629"/>
                      <a:pt x="786207" y="701916"/>
                      <a:pt x="784778" y="701203"/>
                    </a:cubicBezTo>
                    <a:cubicBezTo>
                      <a:pt x="783350" y="700491"/>
                      <a:pt x="781922" y="699778"/>
                      <a:pt x="780494" y="699066"/>
                    </a:cubicBezTo>
                    <a:cubicBezTo>
                      <a:pt x="779780" y="699066"/>
                      <a:pt x="778352" y="698353"/>
                      <a:pt x="777638" y="697640"/>
                    </a:cubicBezTo>
                    <a:cubicBezTo>
                      <a:pt x="776923" y="696928"/>
                      <a:pt x="775495" y="696215"/>
                      <a:pt x="774067" y="696215"/>
                    </a:cubicBezTo>
                    <a:cubicBezTo>
                      <a:pt x="773353" y="695503"/>
                      <a:pt x="772639" y="694790"/>
                      <a:pt x="771925" y="694790"/>
                    </a:cubicBezTo>
                    <a:cubicBezTo>
                      <a:pt x="769069" y="692652"/>
                      <a:pt x="766212" y="691227"/>
                      <a:pt x="763356" y="689089"/>
                    </a:cubicBezTo>
                    <a:cubicBezTo>
                      <a:pt x="761928" y="691227"/>
                      <a:pt x="759785" y="692652"/>
                      <a:pt x="757643" y="694790"/>
                    </a:cubicBezTo>
                    <a:cubicBezTo>
                      <a:pt x="755501" y="696928"/>
                      <a:pt x="753359" y="698353"/>
                      <a:pt x="751216" y="699778"/>
                    </a:cubicBezTo>
                    <a:cubicBezTo>
                      <a:pt x="751216" y="699778"/>
                      <a:pt x="751216" y="700491"/>
                      <a:pt x="750502" y="700491"/>
                    </a:cubicBezTo>
                    <a:cubicBezTo>
                      <a:pt x="749074" y="701916"/>
                      <a:pt x="746932" y="703341"/>
                      <a:pt x="744790" y="704767"/>
                    </a:cubicBezTo>
                    <a:cubicBezTo>
                      <a:pt x="744790" y="704767"/>
                      <a:pt x="744076" y="704767"/>
                      <a:pt x="744076" y="705479"/>
                    </a:cubicBezTo>
                    <a:cubicBezTo>
                      <a:pt x="741933" y="706904"/>
                      <a:pt x="739791" y="707617"/>
                      <a:pt x="738363" y="709042"/>
                    </a:cubicBezTo>
                    <a:cubicBezTo>
                      <a:pt x="737649" y="709755"/>
                      <a:pt x="736935" y="709755"/>
                      <a:pt x="736935" y="709755"/>
                    </a:cubicBezTo>
                    <a:cubicBezTo>
                      <a:pt x="734792" y="711180"/>
                      <a:pt x="733364" y="712605"/>
                      <a:pt x="731222" y="713318"/>
                    </a:cubicBezTo>
                    <a:cubicBezTo>
                      <a:pt x="730508" y="714030"/>
                      <a:pt x="729794" y="714030"/>
                      <a:pt x="729080" y="714743"/>
                    </a:cubicBezTo>
                    <a:cubicBezTo>
                      <a:pt x="727652" y="715456"/>
                      <a:pt x="725509" y="716168"/>
                      <a:pt x="724081" y="717593"/>
                    </a:cubicBezTo>
                    <a:cubicBezTo>
                      <a:pt x="723367" y="717593"/>
                      <a:pt x="722653" y="718306"/>
                      <a:pt x="721939" y="718306"/>
                    </a:cubicBezTo>
                    <a:cubicBezTo>
                      <a:pt x="719797" y="719731"/>
                      <a:pt x="718369" y="720444"/>
                      <a:pt x="716226" y="721156"/>
                    </a:cubicBezTo>
                    <a:cubicBezTo>
                      <a:pt x="715512" y="721869"/>
                      <a:pt x="714798" y="721869"/>
                      <a:pt x="714084" y="722582"/>
                    </a:cubicBezTo>
                    <a:cubicBezTo>
                      <a:pt x="711942" y="723294"/>
                      <a:pt x="710514" y="724007"/>
                      <a:pt x="708371" y="724719"/>
                    </a:cubicBezTo>
                    <a:cubicBezTo>
                      <a:pt x="707657" y="724719"/>
                      <a:pt x="706943" y="725432"/>
                      <a:pt x="706229" y="725432"/>
                    </a:cubicBezTo>
                    <a:cubicBezTo>
                      <a:pt x="704087" y="726145"/>
                      <a:pt x="702659" y="726857"/>
                      <a:pt x="700516" y="727570"/>
                    </a:cubicBezTo>
                    <a:cubicBezTo>
                      <a:pt x="699802" y="727570"/>
                      <a:pt x="698374" y="728282"/>
                      <a:pt x="697660" y="728282"/>
                    </a:cubicBezTo>
                    <a:cubicBezTo>
                      <a:pt x="696232" y="728995"/>
                      <a:pt x="694090" y="729708"/>
                      <a:pt x="692662" y="730420"/>
                    </a:cubicBezTo>
                    <a:cubicBezTo>
                      <a:pt x="691233" y="730420"/>
                      <a:pt x="690519" y="731133"/>
                      <a:pt x="689091" y="731133"/>
                    </a:cubicBezTo>
                    <a:cubicBezTo>
                      <a:pt x="687663" y="731846"/>
                      <a:pt x="686235" y="731846"/>
                      <a:pt x="684093" y="732558"/>
                    </a:cubicBezTo>
                    <a:cubicBezTo>
                      <a:pt x="683378" y="732558"/>
                      <a:pt x="681950" y="733271"/>
                      <a:pt x="680522" y="733271"/>
                    </a:cubicBezTo>
                    <a:cubicBezTo>
                      <a:pt x="679094" y="733983"/>
                      <a:pt x="677666" y="733983"/>
                      <a:pt x="675524" y="734696"/>
                    </a:cubicBezTo>
                    <a:cubicBezTo>
                      <a:pt x="674095" y="734696"/>
                      <a:pt x="672667" y="734696"/>
                      <a:pt x="671239" y="735409"/>
                    </a:cubicBezTo>
                    <a:cubicBezTo>
                      <a:pt x="669811" y="735409"/>
                      <a:pt x="668383" y="735409"/>
                      <a:pt x="666955" y="736121"/>
                    </a:cubicBezTo>
                    <a:cubicBezTo>
                      <a:pt x="665526" y="736121"/>
                      <a:pt x="664098" y="736121"/>
                      <a:pt x="662670" y="736834"/>
                    </a:cubicBezTo>
                    <a:cubicBezTo>
                      <a:pt x="661242" y="736834"/>
                      <a:pt x="659814" y="736834"/>
                      <a:pt x="658386" y="736834"/>
                    </a:cubicBezTo>
                    <a:cubicBezTo>
                      <a:pt x="656243" y="737546"/>
                      <a:pt x="654815" y="737546"/>
                      <a:pt x="652673" y="737546"/>
                    </a:cubicBezTo>
                    <a:cubicBezTo>
                      <a:pt x="651245" y="737546"/>
                      <a:pt x="650531" y="737546"/>
                      <a:pt x="649102" y="737546"/>
                    </a:cubicBezTo>
                    <a:cubicBezTo>
                      <a:pt x="646246" y="737546"/>
                      <a:pt x="643390" y="738259"/>
                      <a:pt x="640533" y="738259"/>
                    </a:cubicBezTo>
                    <a:cubicBezTo>
                      <a:pt x="636963" y="738259"/>
                      <a:pt x="634107" y="737546"/>
                      <a:pt x="631250" y="737546"/>
                    </a:cubicBezTo>
                    <a:cubicBezTo>
                      <a:pt x="629822" y="737546"/>
                      <a:pt x="628394" y="737546"/>
                      <a:pt x="627680" y="737546"/>
                    </a:cubicBezTo>
                    <a:cubicBezTo>
                      <a:pt x="625538" y="737546"/>
                      <a:pt x="624109" y="736834"/>
                      <a:pt x="621967" y="736834"/>
                    </a:cubicBezTo>
                    <a:cubicBezTo>
                      <a:pt x="620539" y="736834"/>
                      <a:pt x="619111" y="736834"/>
                      <a:pt x="617683" y="736121"/>
                    </a:cubicBezTo>
                    <a:cubicBezTo>
                      <a:pt x="616255" y="736121"/>
                      <a:pt x="614826" y="736121"/>
                      <a:pt x="613398" y="736121"/>
                    </a:cubicBezTo>
                    <a:cubicBezTo>
                      <a:pt x="611256" y="735409"/>
                      <a:pt x="609828" y="735409"/>
                      <a:pt x="607686" y="734696"/>
                    </a:cubicBezTo>
                    <a:cubicBezTo>
                      <a:pt x="606257" y="734696"/>
                      <a:pt x="605543" y="734696"/>
                      <a:pt x="604115" y="733983"/>
                    </a:cubicBezTo>
                    <a:cubicBezTo>
                      <a:pt x="602687" y="733983"/>
                      <a:pt x="600545" y="733271"/>
                      <a:pt x="598402" y="733271"/>
                    </a:cubicBezTo>
                    <a:cubicBezTo>
                      <a:pt x="597688" y="732558"/>
                      <a:pt x="596260" y="732558"/>
                      <a:pt x="595546" y="732558"/>
                    </a:cubicBezTo>
                    <a:cubicBezTo>
                      <a:pt x="593404" y="731846"/>
                      <a:pt x="591262" y="731133"/>
                      <a:pt x="589119" y="730420"/>
                    </a:cubicBezTo>
                    <a:cubicBezTo>
                      <a:pt x="588405" y="730420"/>
                      <a:pt x="587691" y="730420"/>
                      <a:pt x="586977" y="729708"/>
                    </a:cubicBezTo>
                    <a:cubicBezTo>
                      <a:pt x="584835" y="728995"/>
                      <a:pt x="582693" y="728282"/>
                      <a:pt x="580550" y="727570"/>
                    </a:cubicBezTo>
                    <a:cubicBezTo>
                      <a:pt x="579836" y="727570"/>
                      <a:pt x="579836" y="727570"/>
                      <a:pt x="579122" y="727570"/>
                    </a:cubicBezTo>
                    <a:cubicBezTo>
                      <a:pt x="576980" y="726145"/>
                      <a:pt x="574124" y="725432"/>
                      <a:pt x="571981" y="724719"/>
                    </a:cubicBezTo>
                    <a:cubicBezTo>
                      <a:pt x="571981" y="724719"/>
                      <a:pt x="571267" y="724007"/>
                      <a:pt x="570553" y="724007"/>
                    </a:cubicBezTo>
                    <a:cubicBezTo>
                      <a:pt x="568411" y="723294"/>
                      <a:pt x="566269" y="721869"/>
                      <a:pt x="564126" y="721156"/>
                    </a:cubicBezTo>
                    <a:cubicBezTo>
                      <a:pt x="563412" y="721156"/>
                      <a:pt x="563412" y="720444"/>
                      <a:pt x="562698" y="720444"/>
                    </a:cubicBezTo>
                    <a:cubicBezTo>
                      <a:pt x="560556" y="719731"/>
                      <a:pt x="558414" y="718306"/>
                      <a:pt x="555557" y="716881"/>
                    </a:cubicBezTo>
                    <a:cubicBezTo>
                      <a:pt x="552701" y="715456"/>
                      <a:pt x="550559" y="714030"/>
                      <a:pt x="548417" y="712605"/>
                    </a:cubicBezTo>
                    <a:cubicBezTo>
                      <a:pt x="548417" y="712605"/>
                      <a:pt x="548417" y="712605"/>
                      <a:pt x="547703" y="712605"/>
                    </a:cubicBezTo>
                    <a:cubicBezTo>
                      <a:pt x="545560" y="711180"/>
                      <a:pt x="543418" y="709755"/>
                      <a:pt x="540562" y="708330"/>
                    </a:cubicBezTo>
                    <a:cubicBezTo>
                      <a:pt x="531279" y="701916"/>
                      <a:pt x="521996" y="694790"/>
                      <a:pt x="514141" y="686951"/>
                    </a:cubicBezTo>
                    <a:cubicBezTo>
                      <a:pt x="511284" y="689802"/>
                      <a:pt x="509142" y="692652"/>
                      <a:pt x="506286" y="695503"/>
                    </a:cubicBezTo>
                    <a:cubicBezTo>
                      <a:pt x="506286" y="695503"/>
                      <a:pt x="506286" y="695503"/>
                      <a:pt x="505572" y="695503"/>
                    </a:cubicBezTo>
                    <a:cubicBezTo>
                      <a:pt x="503429" y="698353"/>
                      <a:pt x="500573" y="701203"/>
                      <a:pt x="497717" y="704054"/>
                    </a:cubicBezTo>
                    <a:cubicBezTo>
                      <a:pt x="497717" y="704054"/>
                      <a:pt x="497717" y="704054"/>
                      <a:pt x="497003" y="704054"/>
                    </a:cubicBezTo>
                    <a:cubicBezTo>
                      <a:pt x="489862" y="711180"/>
                      <a:pt x="482721" y="717593"/>
                      <a:pt x="474152" y="723294"/>
                    </a:cubicBezTo>
                    <a:cubicBezTo>
                      <a:pt x="473438" y="724007"/>
                      <a:pt x="472724" y="724007"/>
                      <a:pt x="472724" y="724719"/>
                    </a:cubicBezTo>
                    <a:cubicBezTo>
                      <a:pt x="469867" y="726145"/>
                      <a:pt x="467725" y="728282"/>
                      <a:pt x="464869" y="729708"/>
                    </a:cubicBezTo>
                    <a:cubicBezTo>
                      <a:pt x="464155" y="730420"/>
                      <a:pt x="462727" y="731133"/>
                      <a:pt x="462012" y="731846"/>
                    </a:cubicBezTo>
                    <a:cubicBezTo>
                      <a:pt x="459870" y="733271"/>
                      <a:pt x="457728" y="733983"/>
                      <a:pt x="455586" y="735409"/>
                    </a:cubicBezTo>
                    <a:cubicBezTo>
                      <a:pt x="454158" y="736121"/>
                      <a:pt x="452729" y="736834"/>
                      <a:pt x="452015" y="737546"/>
                    </a:cubicBezTo>
                    <a:cubicBezTo>
                      <a:pt x="449873" y="738972"/>
                      <a:pt x="448445" y="739684"/>
                      <a:pt x="446303" y="740397"/>
                    </a:cubicBezTo>
                    <a:cubicBezTo>
                      <a:pt x="444874" y="741109"/>
                      <a:pt x="442732" y="742535"/>
                      <a:pt x="441304" y="743247"/>
                    </a:cubicBezTo>
                    <a:cubicBezTo>
                      <a:pt x="439876" y="743960"/>
                      <a:pt x="438448" y="744672"/>
                      <a:pt x="437734" y="745385"/>
                    </a:cubicBezTo>
                    <a:cubicBezTo>
                      <a:pt x="434877" y="746098"/>
                      <a:pt x="432735" y="747523"/>
                      <a:pt x="430593" y="748235"/>
                    </a:cubicBezTo>
                    <a:cubicBezTo>
                      <a:pt x="429165" y="748948"/>
                      <a:pt x="428451" y="748948"/>
                      <a:pt x="427022" y="749661"/>
                    </a:cubicBezTo>
                    <a:cubicBezTo>
                      <a:pt x="424166" y="750373"/>
                      <a:pt x="422024" y="751798"/>
                      <a:pt x="419167" y="752511"/>
                    </a:cubicBezTo>
                    <a:cubicBezTo>
                      <a:pt x="418453" y="753224"/>
                      <a:pt x="417739" y="753224"/>
                      <a:pt x="416311" y="753936"/>
                    </a:cubicBezTo>
                    <a:cubicBezTo>
                      <a:pt x="414169" y="754649"/>
                      <a:pt x="411313" y="755361"/>
                      <a:pt x="408456" y="756787"/>
                    </a:cubicBezTo>
                    <a:cubicBezTo>
                      <a:pt x="407742" y="756787"/>
                      <a:pt x="407028" y="756787"/>
                      <a:pt x="406314" y="756787"/>
                    </a:cubicBezTo>
                    <a:cubicBezTo>
                      <a:pt x="403458" y="758212"/>
                      <a:pt x="400601" y="758925"/>
                      <a:pt x="397745" y="759637"/>
                    </a:cubicBezTo>
                    <a:cubicBezTo>
                      <a:pt x="397031" y="759637"/>
                      <a:pt x="397031" y="759637"/>
                      <a:pt x="396317" y="759637"/>
                    </a:cubicBezTo>
                    <a:cubicBezTo>
                      <a:pt x="392746" y="761062"/>
                      <a:pt x="389890" y="761775"/>
                      <a:pt x="387034" y="761775"/>
                    </a:cubicBezTo>
                    <a:cubicBezTo>
                      <a:pt x="386320" y="762488"/>
                      <a:pt x="385606" y="762488"/>
                      <a:pt x="384891" y="762488"/>
                    </a:cubicBezTo>
                    <a:cubicBezTo>
                      <a:pt x="381321" y="763200"/>
                      <a:pt x="378465" y="763913"/>
                      <a:pt x="374894" y="763913"/>
                    </a:cubicBezTo>
                    <a:cubicBezTo>
                      <a:pt x="374180" y="764625"/>
                      <a:pt x="374180" y="764625"/>
                      <a:pt x="373466" y="764625"/>
                    </a:cubicBezTo>
                    <a:cubicBezTo>
                      <a:pt x="369896" y="765338"/>
                      <a:pt x="366325" y="765338"/>
                      <a:pt x="363469" y="766051"/>
                    </a:cubicBezTo>
                    <a:cubicBezTo>
                      <a:pt x="362755" y="766051"/>
                      <a:pt x="362041" y="766051"/>
                      <a:pt x="361327" y="766051"/>
                    </a:cubicBezTo>
                    <a:cubicBezTo>
                      <a:pt x="357756" y="766051"/>
                      <a:pt x="354900" y="766763"/>
                      <a:pt x="351329" y="766763"/>
                    </a:cubicBezTo>
                    <a:cubicBezTo>
                      <a:pt x="350615" y="766763"/>
                      <a:pt x="350615" y="766763"/>
                      <a:pt x="349901" y="766763"/>
                    </a:cubicBezTo>
                    <a:cubicBezTo>
                      <a:pt x="346331" y="766763"/>
                      <a:pt x="342760" y="766763"/>
                      <a:pt x="339190" y="766763"/>
                    </a:cubicBezTo>
                    <a:cubicBezTo>
                      <a:pt x="335620" y="766763"/>
                      <a:pt x="332049" y="766763"/>
                      <a:pt x="328479" y="766763"/>
                    </a:cubicBezTo>
                    <a:cubicBezTo>
                      <a:pt x="327765" y="766763"/>
                      <a:pt x="327051" y="766763"/>
                      <a:pt x="326337" y="766763"/>
                    </a:cubicBezTo>
                    <a:cubicBezTo>
                      <a:pt x="322766" y="766763"/>
                      <a:pt x="319196" y="766051"/>
                      <a:pt x="315625" y="766051"/>
                    </a:cubicBezTo>
                    <a:cubicBezTo>
                      <a:pt x="314911" y="766051"/>
                      <a:pt x="314911" y="766051"/>
                      <a:pt x="314197" y="766051"/>
                    </a:cubicBezTo>
                    <a:cubicBezTo>
                      <a:pt x="311341" y="765338"/>
                      <a:pt x="307770" y="765338"/>
                      <a:pt x="304914" y="764625"/>
                    </a:cubicBezTo>
                    <a:cubicBezTo>
                      <a:pt x="304200" y="764625"/>
                      <a:pt x="303486" y="764625"/>
                      <a:pt x="303486" y="764625"/>
                    </a:cubicBezTo>
                    <a:cubicBezTo>
                      <a:pt x="299915" y="763913"/>
                      <a:pt x="296345" y="763200"/>
                      <a:pt x="293489" y="762488"/>
                    </a:cubicBezTo>
                    <a:cubicBezTo>
                      <a:pt x="292775" y="762488"/>
                      <a:pt x="292061" y="762488"/>
                      <a:pt x="291346" y="761775"/>
                    </a:cubicBezTo>
                    <a:cubicBezTo>
                      <a:pt x="287776" y="761775"/>
                      <a:pt x="284920" y="761062"/>
                      <a:pt x="281349" y="759637"/>
                    </a:cubicBezTo>
                    <a:cubicBezTo>
                      <a:pt x="277779" y="758925"/>
                      <a:pt x="274923" y="758212"/>
                      <a:pt x="271352" y="756787"/>
                    </a:cubicBezTo>
                    <a:cubicBezTo>
                      <a:pt x="270638" y="756787"/>
                      <a:pt x="270638" y="756787"/>
                      <a:pt x="269924" y="756074"/>
                    </a:cubicBezTo>
                    <a:cubicBezTo>
                      <a:pt x="267068" y="755361"/>
                      <a:pt x="263497" y="754649"/>
                      <a:pt x="260641" y="753224"/>
                    </a:cubicBezTo>
                    <a:cubicBezTo>
                      <a:pt x="259927" y="753224"/>
                      <a:pt x="259927" y="752511"/>
                      <a:pt x="259213" y="752511"/>
                    </a:cubicBezTo>
                    <a:cubicBezTo>
                      <a:pt x="256356" y="751798"/>
                      <a:pt x="253500" y="750373"/>
                      <a:pt x="251358" y="749661"/>
                    </a:cubicBezTo>
                    <a:cubicBezTo>
                      <a:pt x="250644" y="748948"/>
                      <a:pt x="249930" y="748948"/>
                      <a:pt x="249216" y="748948"/>
                    </a:cubicBezTo>
                    <a:cubicBezTo>
                      <a:pt x="246359" y="747523"/>
                      <a:pt x="243503" y="746098"/>
                      <a:pt x="240646" y="744672"/>
                    </a:cubicBezTo>
                    <a:cubicBezTo>
                      <a:pt x="239932" y="744672"/>
                      <a:pt x="239218" y="743960"/>
                      <a:pt x="238504" y="743960"/>
                    </a:cubicBezTo>
                    <a:cubicBezTo>
                      <a:pt x="235648" y="742535"/>
                      <a:pt x="232792" y="741109"/>
                      <a:pt x="230649" y="739684"/>
                    </a:cubicBezTo>
                    <a:cubicBezTo>
                      <a:pt x="229935" y="739684"/>
                      <a:pt x="229935" y="738972"/>
                      <a:pt x="229221" y="738972"/>
                    </a:cubicBezTo>
                    <a:cubicBezTo>
                      <a:pt x="226365" y="737546"/>
                      <a:pt x="223508" y="736121"/>
                      <a:pt x="221366" y="734696"/>
                    </a:cubicBezTo>
                    <a:cubicBezTo>
                      <a:pt x="220652" y="733983"/>
                      <a:pt x="219224" y="733271"/>
                      <a:pt x="218510" y="733271"/>
                    </a:cubicBezTo>
                    <a:cubicBezTo>
                      <a:pt x="216368" y="731133"/>
                      <a:pt x="213511" y="729708"/>
                      <a:pt x="211369" y="728282"/>
                    </a:cubicBezTo>
                    <a:cubicBezTo>
                      <a:pt x="210655" y="727570"/>
                      <a:pt x="209941" y="726857"/>
                      <a:pt x="209227" y="726857"/>
                    </a:cubicBezTo>
                    <a:cubicBezTo>
                      <a:pt x="207085" y="725432"/>
                      <a:pt x="204942" y="724007"/>
                      <a:pt x="202800" y="722582"/>
                    </a:cubicBezTo>
                    <a:cubicBezTo>
                      <a:pt x="202086" y="721869"/>
                      <a:pt x="201372" y="721156"/>
                      <a:pt x="200658" y="720444"/>
                    </a:cubicBezTo>
                    <a:cubicBezTo>
                      <a:pt x="198516" y="719019"/>
                      <a:pt x="195659" y="716881"/>
                      <a:pt x="193517" y="715456"/>
                    </a:cubicBezTo>
                    <a:cubicBezTo>
                      <a:pt x="192803" y="714743"/>
                      <a:pt x="192089" y="714030"/>
                      <a:pt x="191375" y="713318"/>
                    </a:cubicBezTo>
                    <a:cubicBezTo>
                      <a:pt x="189232" y="711893"/>
                      <a:pt x="187090" y="709755"/>
                      <a:pt x="185662" y="708330"/>
                    </a:cubicBezTo>
                    <a:cubicBezTo>
                      <a:pt x="184948" y="707617"/>
                      <a:pt x="184234" y="707617"/>
                      <a:pt x="184234" y="706904"/>
                    </a:cubicBezTo>
                    <a:cubicBezTo>
                      <a:pt x="182092" y="704767"/>
                      <a:pt x="179949" y="702629"/>
                      <a:pt x="177807" y="700491"/>
                    </a:cubicBezTo>
                    <a:cubicBezTo>
                      <a:pt x="177093" y="699778"/>
                      <a:pt x="175665" y="699066"/>
                      <a:pt x="174951" y="698353"/>
                    </a:cubicBezTo>
                    <a:cubicBezTo>
                      <a:pt x="173523" y="696215"/>
                      <a:pt x="171380" y="694077"/>
                      <a:pt x="169238" y="691940"/>
                    </a:cubicBezTo>
                    <a:cubicBezTo>
                      <a:pt x="168524" y="691227"/>
                      <a:pt x="167810" y="690514"/>
                      <a:pt x="167096" y="689802"/>
                    </a:cubicBezTo>
                    <a:cubicBezTo>
                      <a:pt x="165668" y="688377"/>
                      <a:pt x="164240" y="686239"/>
                      <a:pt x="162811" y="684814"/>
                    </a:cubicBezTo>
                    <a:cubicBezTo>
                      <a:pt x="162097" y="684101"/>
                      <a:pt x="161383" y="683388"/>
                      <a:pt x="160669" y="682676"/>
                    </a:cubicBezTo>
                    <a:cubicBezTo>
                      <a:pt x="158527" y="679825"/>
                      <a:pt x="157099" y="677688"/>
                      <a:pt x="154956" y="675550"/>
                    </a:cubicBezTo>
                    <a:cubicBezTo>
                      <a:pt x="154956" y="674837"/>
                      <a:pt x="154242" y="674125"/>
                      <a:pt x="153528" y="672699"/>
                    </a:cubicBezTo>
                    <a:cubicBezTo>
                      <a:pt x="152100" y="671274"/>
                      <a:pt x="150672" y="669136"/>
                      <a:pt x="149244" y="666998"/>
                    </a:cubicBezTo>
                    <a:cubicBezTo>
                      <a:pt x="148530" y="666286"/>
                      <a:pt x="148530" y="665573"/>
                      <a:pt x="147816" y="664861"/>
                    </a:cubicBezTo>
                    <a:cubicBezTo>
                      <a:pt x="144959" y="664148"/>
                      <a:pt x="142103" y="662723"/>
                      <a:pt x="139247" y="662010"/>
                    </a:cubicBezTo>
                    <a:cubicBezTo>
                      <a:pt x="137818" y="661298"/>
                      <a:pt x="137104" y="661298"/>
                      <a:pt x="135676" y="660585"/>
                    </a:cubicBezTo>
                    <a:cubicBezTo>
                      <a:pt x="134248" y="659872"/>
                      <a:pt x="132106" y="659160"/>
                      <a:pt x="129964" y="658447"/>
                    </a:cubicBezTo>
                    <a:cubicBezTo>
                      <a:pt x="129249" y="658447"/>
                      <a:pt x="127821" y="657735"/>
                      <a:pt x="127107" y="657022"/>
                    </a:cubicBezTo>
                    <a:cubicBezTo>
                      <a:pt x="124965" y="656309"/>
                      <a:pt x="122823" y="655597"/>
                      <a:pt x="121394" y="654884"/>
                    </a:cubicBezTo>
                    <a:cubicBezTo>
                      <a:pt x="119966" y="654172"/>
                      <a:pt x="119252" y="653459"/>
                      <a:pt x="117824" y="653459"/>
                    </a:cubicBezTo>
                    <a:cubicBezTo>
                      <a:pt x="116396" y="652034"/>
                      <a:pt x="114254" y="651321"/>
                      <a:pt x="112111" y="649896"/>
                    </a:cubicBezTo>
                    <a:cubicBezTo>
                      <a:pt x="111397" y="649896"/>
                      <a:pt x="110683" y="649183"/>
                      <a:pt x="109969" y="649183"/>
                    </a:cubicBezTo>
                    <a:cubicBezTo>
                      <a:pt x="107113" y="647758"/>
                      <a:pt x="104256" y="646333"/>
                      <a:pt x="102114" y="644195"/>
                    </a:cubicBezTo>
                    <a:cubicBezTo>
                      <a:pt x="101400" y="644195"/>
                      <a:pt x="99972" y="643482"/>
                      <a:pt x="99258" y="642770"/>
                    </a:cubicBezTo>
                    <a:cubicBezTo>
                      <a:pt x="97830" y="642057"/>
                      <a:pt x="95687" y="640632"/>
                      <a:pt x="94259" y="639207"/>
                    </a:cubicBezTo>
                    <a:cubicBezTo>
                      <a:pt x="92831" y="639207"/>
                      <a:pt x="92117" y="638494"/>
                      <a:pt x="91403" y="637782"/>
                    </a:cubicBezTo>
                    <a:cubicBezTo>
                      <a:pt x="89261" y="636356"/>
                      <a:pt x="87833" y="635644"/>
                      <a:pt x="86404" y="634219"/>
                    </a:cubicBezTo>
                    <a:cubicBezTo>
                      <a:pt x="84976" y="633506"/>
                      <a:pt x="84262" y="632793"/>
                      <a:pt x="83548" y="632081"/>
                    </a:cubicBezTo>
                    <a:cubicBezTo>
                      <a:pt x="81406" y="630656"/>
                      <a:pt x="79978" y="629230"/>
                      <a:pt x="78549" y="628518"/>
                    </a:cubicBezTo>
                    <a:cubicBezTo>
                      <a:pt x="77835" y="627805"/>
                      <a:pt x="77121" y="627093"/>
                      <a:pt x="76407" y="626380"/>
                    </a:cubicBezTo>
                    <a:cubicBezTo>
                      <a:pt x="73551" y="624242"/>
                      <a:pt x="71409" y="622817"/>
                      <a:pt x="69266" y="620679"/>
                    </a:cubicBezTo>
                    <a:cubicBezTo>
                      <a:pt x="68552" y="619967"/>
                      <a:pt x="68552" y="619254"/>
                      <a:pt x="67838" y="619254"/>
                    </a:cubicBezTo>
                    <a:cubicBezTo>
                      <a:pt x="65696" y="617829"/>
                      <a:pt x="64268" y="615691"/>
                      <a:pt x="62126" y="614266"/>
                    </a:cubicBezTo>
                    <a:cubicBezTo>
                      <a:pt x="61411" y="613553"/>
                      <a:pt x="60697" y="612840"/>
                      <a:pt x="59983" y="612128"/>
                    </a:cubicBezTo>
                    <a:cubicBezTo>
                      <a:pt x="58555" y="610703"/>
                      <a:pt x="57127" y="609277"/>
                      <a:pt x="55699" y="607140"/>
                    </a:cubicBezTo>
                    <a:cubicBezTo>
                      <a:pt x="54985" y="606427"/>
                      <a:pt x="54271" y="605714"/>
                      <a:pt x="53557" y="605002"/>
                    </a:cubicBezTo>
                    <a:cubicBezTo>
                      <a:pt x="52128" y="603577"/>
                      <a:pt x="50700" y="602151"/>
                      <a:pt x="49272" y="600014"/>
                    </a:cubicBezTo>
                    <a:cubicBezTo>
                      <a:pt x="48558" y="599301"/>
                      <a:pt x="47844" y="598588"/>
                      <a:pt x="47844" y="597876"/>
                    </a:cubicBezTo>
                    <a:cubicBezTo>
                      <a:pt x="45702" y="595738"/>
                      <a:pt x="43559" y="593600"/>
                      <a:pt x="42131" y="590750"/>
                    </a:cubicBezTo>
                    <a:cubicBezTo>
                      <a:pt x="42131" y="590750"/>
                      <a:pt x="42131" y="590750"/>
                      <a:pt x="41417" y="590750"/>
                    </a:cubicBezTo>
                    <a:cubicBezTo>
                      <a:pt x="39989" y="587899"/>
                      <a:pt x="37847" y="585761"/>
                      <a:pt x="36419" y="582911"/>
                    </a:cubicBezTo>
                    <a:cubicBezTo>
                      <a:pt x="35704" y="582198"/>
                      <a:pt x="34990" y="581486"/>
                      <a:pt x="34990" y="580773"/>
                    </a:cubicBezTo>
                    <a:cubicBezTo>
                      <a:pt x="33562" y="578635"/>
                      <a:pt x="32134" y="577210"/>
                      <a:pt x="31420" y="575072"/>
                    </a:cubicBezTo>
                    <a:cubicBezTo>
                      <a:pt x="30706" y="574360"/>
                      <a:pt x="29992" y="573647"/>
                      <a:pt x="29278" y="572222"/>
                    </a:cubicBezTo>
                    <a:cubicBezTo>
                      <a:pt x="28564" y="570797"/>
                      <a:pt x="27135" y="568659"/>
                      <a:pt x="26421" y="567234"/>
                    </a:cubicBezTo>
                    <a:cubicBezTo>
                      <a:pt x="25707" y="566521"/>
                      <a:pt x="25707" y="565096"/>
                      <a:pt x="24993" y="564383"/>
                    </a:cubicBezTo>
                    <a:cubicBezTo>
                      <a:pt x="23565" y="562246"/>
                      <a:pt x="22851" y="560108"/>
                      <a:pt x="21423" y="557970"/>
                    </a:cubicBezTo>
                    <a:cubicBezTo>
                      <a:pt x="21423" y="557257"/>
                      <a:pt x="20709" y="556545"/>
                      <a:pt x="20709" y="555832"/>
                    </a:cubicBezTo>
                    <a:cubicBezTo>
                      <a:pt x="19281" y="552982"/>
                      <a:pt x="17852" y="550131"/>
                      <a:pt x="16424" y="547281"/>
                    </a:cubicBezTo>
                    <a:cubicBezTo>
                      <a:pt x="16424" y="546568"/>
                      <a:pt x="16424" y="545856"/>
                      <a:pt x="15710" y="545143"/>
                    </a:cubicBezTo>
                    <a:cubicBezTo>
                      <a:pt x="14996" y="543005"/>
                      <a:pt x="14282" y="540867"/>
                      <a:pt x="13568" y="538730"/>
                    </a:cubicBezTo>
                    <a:cubicBezTo>
                      <a:pt x="12854" y="538017"/>
                      <a:pt x="12140" y="536592"/>
                      <a:pt x="12140" y="535879"/>
                    </a:cubicBezTo>
                    <a:cubicBezTo>
                      <a:pt x="11426" y="533741"/>
                      <a:pt x="10712" y="531604"/>
                      <a:pt x="9997" y="530178"/>
                    </a:cubicBezTo>
                    <a:cubicBezTo>
                      <a:pt x="9997" y="528753"/>
                      <a:pt x="9283" y="528040"/>
                      <a:pt x="9283" y="526615"/>
                    </a:cubicBezTo>
                    <a:cubicBezTo>
                      <a:pt x="8569" y="524477"/>
                      <a:pt x="7855" y="522340"/>
                      <a:pt x="7141" y="520202"/>
                    </a:cubicBezTo>
                    <a:cubicBezTo>
                      <a:pt x="7141" y="519489"/>
                      <a:pt x="6427" y="518064"/>
                      <a:pt x="6427" y="517351"/>
                    </a:cubicBezTo>
                    <a:cubicBezTo>
                      <a:pt x="5713" y="514501"/>
                      <a:pt x="4999" y="511651"/>
                      <a:pt x="4285" y="508088"/>
                    </a:cubicBezTo>
                    <a:cubicBezTo>
                      <a:pt x="4285" y="507375"/>
                      <a:pt x="4285" y="507375"/>
                      <a:pt x="4285" y="506662"/>
                    </a:cubicBezTo>
                    <a:cubicBezTo>
                      <a:pt x="3571" y="503812"/>
                      <a:pt x="2857" y="501674"/>
                      <a:pt x="2857" y="498824"/>
                    </a:cubicBezTo>
                    <a:cubicBezTo>
                      <a:pt x="2143" y="497398"/>
                      <a:pt x="2143" y="496686"/>
                      <a:pt x="2143" y="495261"/>
                    </a:cubicBezTo>
                    <a:cubicBezTo>
                      <a:pt x="2143" y="493123"/>
                      <a:pt x="1428" y="490985"/>
                      <a:pt x="1428" y="488847"/>
                    </a:cubicBezTo>
                    <a:cubicBezTo>
                      <a:pt x="1428" y="488135"/>
                      <a:pt x="714" y="486709"/>
                      <a:pt x="714" y="485284"/>
                    </a:cubicBezTo>
                    <a:cubicBezTo>
                      <a:pt x="714" y="483146"/>
                      <a:pt x="714" y="481009"/>
                      <a:pt x="714" y="478871"/>
                    </a:cubicBezTo>
                    <a:cubicBezTo>
                      <a:pt x="0" y="478158"/>
                      <a:pt x="0" y="476733"/>
                      <a:pt x="0" y="476020"/>
                    </a:cubicBezTo>
                    <a:cubicBezTo>
                      <a:pt x="0" y="472457"/>
                      <a:pt x="0" y="468894"/>
                      <a:pt x="0" y="466044"/>
                    </a:cubicBezTo>
                    <a:cubicBezTo>
                      <a:pt x="0" y="361291"/>
                      <a:pt x="77835" y="274353"/>
                      <a:pt x="179949" y="260101"/>
                    </a:cubicBezTo>
                    <a:cubicBezTo>
                      <a:pt x="179949" y="252262"/>
                      <a:pt x="179235" y="244424"/>
                      <a:pt x="179235" y="235872"/>
                    </a:cubicBezTo>
                    <a:cubicBezTo>
                      <a:pt x="179235" y="105466"/>
                      <a:pt x="285634" y="0"/>
                      <a:pt x="41773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5" name="Group 9">
            <a:extLst>
              <a:ext uri="{FF2B5EF4-FFF2-40B4-BE49-F238E27FC236}">
                <a16:creationId xmlns:a16="http://schemas.microsoft.com/office/drawing/2014/main" id="{06AAA24F-53C2-49AE-9382-E7E4738A8A00}"/>
              </a:ext>
            </a:extLst>
          </p:cNvPr>
          <p:cNvGrpSpPr>
            <a:grpSpLocks noChangeAspect="1"/>
          </p:cNvGrpSpPr>
          <p:nvPr/>
        </p:nvGrpSpPr>
        <p:grpSpPr>
          <a:xfrm>
            <a:off x="1525242" y="4566799"/>
            <a:ext cx="998886" cy="997922"/>
            <a:chOff x="6464300" y="2606675"/>
            <a:chExt cx="1646238" cy="1644650"/>
          </a:xfrm>
        </p:grpSpPr>
        <p:sp>
          <p:nvSpPr>
            <p:cNvPr id="46" name="AutoShape 3">
              <a:extLst>
                <a:ext uri="{FF2B5EF4-FFF2-40B4-BE49-F238E27FC236}">
                  <a16:creationId xmlns:a16="http://schemas.microsoft.com/office/drawing/2014/main" id="{6C10B35E-EC76-425C-BFAF-3B8818F1607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14">
              <a:extLst>
                <a:ext uri="{FF2B5EF4-FFF2-40B4-BE49-F238E27FC236}">
                  <a16:creationId xmlns:a16="http://schemas.microsoft.com/office/drawing/2014/main" id="{7C53012B-B537-4097-A2B6-7E20643A92FC}"/>
                </a:ext>
              </a:extLst>
            </p:cNvPr>
            <p:cNvGrpSpPr/>
            <p:nvPr/>
          </p:nvGrpSpPr>
          <p:grpSpPr>
            <a:xfrm>
              <a:off x="6634163" y="2962275"/>
              <a:ext cx="1304925" cy="931863"/>
              <a:chOff x="6634163" y="2962275"/>
              <a:chExt cx="1304925" cy="931863"/>
            </a:xfrm>
          </p:grpSpPr>
          <p:sp>
            <p:nvSpPr>
              <p:cNvPr id="48" name="Freeform 16">
                <a:extLst>
                  <a:ext uri="{FF2B5EF4-FFF2-40B4-BE49-F238E27FC236}">
                    <a16:creationId xmlns:a16="http://schemas.microsoft.com/office/drawing/2014/main" id="{D91DED28-1118-4979-912E-7A2539435367}"/>
                  </a:ext>
                </a:extLst>
              </p:cNvPr>
              <p:cNvSpPr>
                <a:spLocks/>
              </p:cNvSpPr>
              <p:nvPr/>
            </p:nvSpPr>
            <p:spPr bwMode="auto">
              <a:xfrm>
                <a:off x="6634163" y="2962275"/>
                <a:ext cx="1304925" cy="931863"/>
              </a:xfrm>
              <a:custGeom>
                <a:avLst/>
                <a:gdLst>
                  <a:gd name="connsiteX0" fmla="*/ 61912 w 1304925"/>
                  <a:gd name="connsiteY0" fmla="*/ 90488 h 931863"/>
                  <a:gd name="connsiteX1" fmla="*/ 81936 w 1304925"/>
                  <a:gd name="connsiteY1" fmla="*/ 114043 h 931863"/>
                  <a:gd name="connsiteX2" fmla="*/ 256431 w 1304925"/>
                  <a:gd name="connsiteY2" fmla="*/ 309616 h 931863"/>
                  <a:gd name="connsiteX3" fmla="*/ 284321 w 1304925"/>
                  <a:gd name="connsiteY3" fmla="*/ 341022 h 931863"/>
                  <a:gd name="connsiteX4" fmla="*/ 290043 w 1304925"/>
                  <a:gd name="connsiteY4" fmla="*/ 348874 h 931863"/>
                  <a:gd name="connsiteX5" fmla="*/ 299339 w 1304925"/>
                  <a:gd name="connsiteY5" fmla="*/ 352442 h 931863"/>
                  <a:gd name="connsiteX6" fmla="*/ 303630 w 1304925"/>
                  <a:gd name="connsiteY6" fmla="*/ 351729 h 931863"/>
                  <a:gd name="connsiteX7" fmla="*/ 449519 w 1304925"/>
                  <a:gd name="connsiteY7" fmla="*/ 283207 h 931863"/>
                  <a:gd name="connsiteX8" fmla="*/ 456671 w 1304925"/>
                  <a:gd name="connsiteY8" fmla="*/ 281779 h 931863"/>
                  <a:gd name="connsiteX9" fmla="*/ 468828 w 1304925"/>
                  <a:gd name="connsiteY9" fmla="*/ 286775 h 931863"/>
                  <a:gd name="connsiteX10" fmla="*/ 488852 w 1304925"/>
                  <a:gd name="connsiteY10" fmla="*/ 308189 h 931863"/>
                  <a:gd name="connsiteX11" fmla="*/ 665492 w 1304925"/>
                  <a:gd name="connsiteY11" fmla="*/ 492342 h 931863"/>
                  <a:gd name="connsiteX12" fmla="*/ 691237 w 1304925"/>
                  <a:gd name="connsiteY12" fmla="*/ 520893 h 931863"/>
                  <a:gd name="connsiteX13" fmla="*/ 713406 w 1304925"/>
                  <a:gd name="connsiteY13" fmla="*/ 543733 h 931863"/>
                  <a:gd name="connsiteX14" fmla="*/ 721273 w 1304925"/>
                  <a:gd name="connsiteY14" fmla="*/ 547302 h 931863"/>
                  <a:gd name="connsiteX15" fmla="*/ 727709 w 1304925"/>
                  <a:gd name="connsiteY15" fmla="*/ 545161 h 931863"/>
                  <a:gd name="connsiteX16" fmla="*/ 865732 w 1304925"/>
                  <a:gd name="connsiteY16" fmla="*/ 451657 h 931863"/>
                  <a:gd name="connsiteX17" fmla="*/ 866447 w 1304925"/>
                  <a:gd name="connsiteY17" fmla="*/ 451657 h 931863"/>
                  <a:gd name="connsiteX18" fmla="*/ 892192 w 1304925"/>
                  <a:gd name="connsiteY18" fmla="*/ 435954 h 931863"/>
                  <a:gd name="connsiteX19" fmla="*/ 905780 w 1304925"/>
                  <a:gd name="connsiteY19" fmla="*/ 426675 h 931863"/>
                  <a:gd name="connsiteX20" fmla="*/ 911501 w 1304925"/>
                  <a:gd name="connsiteY20" fmla="*/ 425247 h 931863"/>
                  <a:gd name="connsiteX21" fmla="*/ 920083 w 1304925"/>
                  <a:gd name="connsiteY21" fmla="*/ 428816 h 931863"/>
                  <a:gd name="connsiteX22" fmla="*/ 1065971 w 1304925"/>
                  <a:gd name="connsiteY22" fmla="*/ 596552 h 931863"/>
                  <a:gd name="connsiteX23" fmla="*/ 1094577 w 1304925"/>
                  <a:gd name="connsiteY23" fmla="*/ 627958 h 931863"/>
                  <a:gd name="connsiteX24" fmla="*/ 1103159 w 1304925"/>
                  <a:gd name="connsiteY24" fmla="*/ 631527 h 931863"/>
                  <a:gd name="connsiteX25" fmla="*/ 1109595 w 1304925"/>
                  <a:gd name="connsiteY25" fmla="*/ 629386 h 931863"/>
                  <a:gd name="connsiteX26" fmla="*/ 1159655 w 1304925"/>
                  <a:gd name="connsiteY26" fmla="*/ 588701 h 931863"/>
                  <a:gd name="connsiteX27" fmla="*/ 1166806 w 1304925"/>
                  <a:gd name="connsiteY27" fmla="*/ 585846 h 931863"/>
                  <a:gd name="connsiteX28" fmla="*/ 1176818 w 1304925"/>
                  <a:gd name="connsiteY28" fmla="*/ 593697 h 931863"/>
                  <a:gd name="connsiteX29" fmla="*/ 1242611 w 1304925"/>
                  <a:gd name="connsiteY29" fmla="*/ 821391 h 931863"/>
                  <a:gd name="connsiteX30" fmla="*/ 1227593 w 1304925"/>
                  <a:gd name="connsiteY30" fmla="*/ 841376 h 931863"/>
                  <a:gd name="connsiteX31" fmla="*/ 1220442 w 1304925"/>
                  <a:gd name="connsiteY31" fmla="*/ 839949 h 931863"/>
                  <a:gd name="connsiteX32" fmla="*/ 999463 w 1304925"/>
                  <a:gd name="connsiteY32" fmla="*/ 746444 h 931863"/>
                  <a:gd name="connsiteX33" fmla="*/ 988736 w 1304925"/>
                  <a:gd name="connsiteY33" fmla="*/ 742162 h 931863"/>
                  <a:gd name="connsiteX34" fmla="*/ 986591 w 1304925"/>
                  <a:gd name="connsiteY34" fmla="*/ 724318 h 931863"/>
                  <a:gd name="connsiteX35" fmla="*/ 1035220 w 1304925"/>
                  <a:gd name="connsiteY35" fmla="*/ 687915 h 931863"/>
                  <a:gd name="connsiteX36" fmla="*/ 1037366 w 1304925"/>
                  <a:gd name="connsiteY36" fmla="*/ 673640 h 931863"/>
                  <a:gd name="connsiteX37" fmla="*/ 906495 w 1304925"/>
                  <a:gd name="connsiteY37" fmla="*/ 520179 h 931863"/>
                  <a:gd name="connsiteX38" fmla="*/ 897913 w 1304925"/>
                  <a:gd name="connsiteY38" fmla="*/ 515896 h 931863"/>
                  <a:gd name="connsiteX39" fmla="*/ 892192 w 1304925"/>
                  <a:gd name="connsiteY39" fmla="*/ 517324 h 931863"/>
                  <a:gd name="connsiteX40" fmla="*/ 892192 w 1304925"/>
                  <a:gd name="connsiteY40" fmla="*/ 518037 h 931863"/>
                  <a:gd name="connsiteX41" fmla="*/ 866447 w 1304925"/>
                  <a:gd name="connsiteY41" fmla="*/ 533740 h 931863"/>
                  <a:gd name="connsiteX42" fmla="*/ 716267 w 1304925"/>
                  <a:gd name="connsiteY42" fmla="*/ 622962 h 931863"/>
                  <a:gd name="connsiteX43" fmla="*/ 710546 w 1304925"/>
                  <a:gd name="connsiteY43" fmla="*/ 624390 h 931863"/>
                  <a:gd name="connsiteX44" fmla="*/ 701964 w 1304925"/>
                  <a:gd name="connsiteY44" fmla="*/ 620821 h 931863"/>
                  <a:gd name="connsiteX45" fmla="*/ 691237 w 1304925"/>
                  <a:gd name="connsiteY45" fmla="*/ 607259 h 931863"/>
                  <a:gd name="connsiteX46" fmla="*/ 665492 w 1304925"/>
                  <a:gd name="connsiteY46" fmla="*/ 575853 h 931863"/>
                  <a:gd name="connsiteX47" fmla="*/ 488852 w 1304925"/>
                  <a:gd name="connsiteY47" fmla="*/ 368145 h 931863"/>
                  <a:gd name="connsiteX48" fmla="*/ 457386 w 1304925"/>
                  <a:gd name="connsiteY48" fmla="*/ 330315 h 931863"/>
                  <a:gd name="connsiteX49" fmla="*/ 449519 w 1304925"/>
                  <a:gd name="connsiteY49" fmla="*/ 326033 h 931863"/>
                  <a:gd name="connsiteX50" fmla="*/ 445228 w 1304925"/>
                  <a:gd name="connsiteY50" fmla="*/ 326747 h 931863"/>
                  <a:gd name="connsiteX51" fmla="*/ 292188 w 1304925"/>
                  <a:gd name="connsiteY51" fmla="*/ 382421 h 931863"/>
                  <a:gd name="connsiteX52" fmla="*/ 288612 w 1304925"/>
                  <a:gd name="connsiteY52" fmla="*/ 383135 h 931863"/>
                  <a:gd name="connsiteX53" fmla="*/ 279315 w 1304925"/>
                  <a:gd name="connsiteY53" fmla="*/ 378852 h 931863"/>
                  <a:gd name="connsiteX54" fmla="*/ 256431 w 1304925"/>
                  <a:gd name="connsiteY54" fmla="*/ 348874 h 931863"/>
                  <a:gd name="connsiteX55" fmla="*/ 81936 w 1304925"/>
                  <a:gd name="connsiteY55" fmla="*/ 116898 h 931863"/>
                  <a:gd name="connsiteX56" fmla="*/ 61912 w 1304925"/>
                  <a:gd name="connsiteY56" fmla="*/ 90488 h 931863"/>
                  <a:gd name="connsiteX57" fmla="*/ 30162 w 1304925"/>
                  <a:gd name="connsiteY57" fmla="*/ 31750 h 931863"/>
                  <a:gd name="connsiteX58" fmla="*/ 30162 w 1304925"/>
                  <a:gd name="connsiteY58" fmla="*/ 900113 h 931863"/>
                  <a:gd name="connsiteX59" fmla="*/ 1274762 w 1304925"/>
                  <a:gd name="connsiteY59" fmla="*/ 900113 h 931863"/>
                  <a:gd name="connsiteX60" fmla="*/ 1274762 w 1304925"/>
                  <a:gd name="connsiteY60" fmla="*/ 31750 h 931863"/>
                  <a:gd name="connsiteX61" fmla="*/ 30162 w 1304925"/>
                  <a:gd name="connsiteY61" fmla="*/ 31750 h 931863"/>
                  <a:gd name="connsiteX62" fmla="*/ 15705 w 1304925"/>
                  <a:gd name="connsiteY62" fmla="*/ 0 h 931863"/>
                  <a:gd name="connsiteX63" fmla="*/ 1289220 w 1304925"/>
                  <a:gd name="connsiteY63" fmla="*/ 0 h 931863"/>
                  <a:gd name="connsiteX64" fmla="*/ 1304925 w 1304925"/>
                  <a:gd name="connsiteY64" fmla="*/ 15698 h 931863"/>
                  <a:gd name="connsiteX65" fmla="*/ 1304925 w 1304925"/>
                  <a:gd name="connsiteY65" fmla="*/ 916166 h 931863"/>
                  <a:gd name="connsiteX66" fmla="*/ 1289220 w 1304925"/>
                  <a:gd name="connsiteY66" fmla="*/ 931863 h 931863"/>
                  <a:gd name="connsiteX67" fmla="*/ 15705 w 1304925"/>
                  <a:gd name="connsiteY67" fmla="*/ 931863 h 931863"/>
                  <a:gd name="connsiteX68" fmla="*/ 0 w 1304925"/>
                  <a:gd name="connsiteY68" fmla="*/ 916166 h 931863"/>
                  <a:gd name="connsiteX69" fmla="*/ 0 w 1304925"/>
                  <a:gd name="connsiteY69" fmla="*/ 15698 h 931863"/>
                  <a:gd name="connsiteX70" fmla="*/ 15705 w 1304925"/>
                  <a:gd name="connsiteY7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04925" h="931863">
                    <a:moveTo>
                      <a:pt x="61912" y="90488"/>
                    </a:moveTo>
                    <a:cubicBezTo>
                      <a:pt x="61912" y="90488"/>
                      <a:pt x="61912" y="90488"/>
                      <a:pt x="81936" y="114043"/>
                    </a:cubicBezTo>
                    <a:cubicBezTo>
                      <a:pt x="256431" y="309616"/>
                      <a:pt x="256431" y="309616"/>
                      <a:pt x="256431" y="309616"/>
                    </a:cubicBezTo>
                    <a:cubicBezTo>
                      <a:pt x="284321" y="341022"/>
                      <a:pt x="284321" y="341022"/>
                      <a:pt x="284321" y="341022"/>
                    </a:cubicBezTo>
                    <a:cubicBezTo>
                      <a:pt x="290043" y="348874"/>
                      <a:pt x="290043" y="348874"/>
                      <a:pt x="290043" y="348874"/>
                    </a:cubicBezTo>
                    <a:cubicBezTo>
                      <a:pt x="292188" y="351015"/>
                      <a:pt x="295764" y="352442"/>
                      <a:pt x="299339" y="352442"/>
                    </a:cubicBezTo>
                    <a:cubicBezTo>
                      <a:pt x="300770" y="352442"/>
                      <a:pt x="302200" y="352442"/>
                      <a:pt x="303630" y="351729"/>
                    </a:cubicBezTo>
                    <a:cubicBezTo>
                      <a:pt x="449519" y="283207"/>
                      <a:pt x="449519" y="283207"/>
                      <a:pt x="449519" y="283207"/>
                    </a:cubicBezTo>
                    <a:cubicBezTo>
                      <a:pt x="451665" y="282493"/>
                      <a:pt x="454525" y="281779"/>
                      <a:pt x="456671" y="281779"/>
                    </a:cubicBezTo>
                    <a:cubicBezTo>
                      <a:pt x="461677" y="281779"/>
                      <a:pt x="465967" y="283207"/>
                      <a:pt x="468828" y="286775"/>
                    </a:cubicBezTo>
                    <a:cubicBezTo>
                      <a:pt x="488852" y="308189"/>
                      <a:pt x="488852" y="308189"/>
                      <a:pt x="488852" y="308189"/>
                    </a:cubicBezTo>
                    <a:cubicBezTo>
                      <a:pt x="665492" y="492342"/>
                      <a:pt x="665492" y="492342"/>
                      <a:pt x="665492" y="492342"/>
                    </a:cubicBezTo>
                    <a:cubicBezTo>
                      <a:pt x="691237" y="520893"/>
                      <a:pt x="691237" y="520893"/>
                      <a:pt x="691237" y="520893"/>
                    </a:cubicBezTo>
                    <a:cubicBezTo>
                      <a:pt x="713406" y="543733"/>
                      <a:pt x="713406" y="543733"/>
                      <a:pt x="713406" y="543733"/>
                    </a:cubicBezTo>
                    <a:cubicBezTo>
                      <a:pt x="715552" y="545875"/>
                      <a:pt x="718412" y="547302"/>
                      <a:pt x="721273" y="547302"/>
                    </a:cubicBezTo>
                    <a:cubicBezTo>
                      <a:pt x="723418" y="547302"/>
                      <a:pt x="725564" y="546588"/>
                      <a:pt x="727709" y="545161"/>
                    </a:cubicBezTo>
                    <a:cubicBezTo>
                      <a:pt x="865732" y="451657"/>
                      <a:pt x="865732" y="451657"/>
                      <a:pt x="865732" y="451657"/>
                    </a:cubicBezTo>
                    <a:cubicBezTo>
                      <a:pt x="866447" y="451657"/>
                      <a:pt x="866447" y="451657"/>
                      <a:pt x="866447" y="451657"/>
                    </a:cubicBezTo>
                    <a:cubicBezTo>
                      <a:pt x="892192" y="435954"/>
                      <a:pt x="892192" y="435954"/>
                      <a:pt x="892192" y="435954"/>
                    </a:cubicBezTo>
                    <a:cubicBezTo>
                      <a:pt x="905780" y="426675"/>
                      <a:pt x="905780" y="426675"/>
                      <a:pt x="905780" y="426675"/>
                    </a:cubicBezTo>
                    <a:cubicBezTo>
                      <a:pt x="907925" y="425247"/>
                      <a:pt x="910071" y="425247"/>
                      <a:pt x="911501" y="425247"/>
                    </a:cubicBezTo>
                    <a:cubicBezTo>
                      <a:pt x="915077" y="425247"/>
                      <a:pt x="917937" y="425961"/>
                      <a:pt x="920083" y="428816"/>
                    </a:cubicBezTo>
                    <a:cubicBezTo>
                      <a:pt x="1065971" y="596552"/>
                      <a:pt x="1065971" y="596552"/>
                      <a:pt x="1065971" y="596552"/>
                    </a:cubicBezTo>
                    <a:cubicBezTo>
                      <a:pt x="1094577" y="627958"/>
                      <a:pt x="1094577" y="627958"/>
                      <a:pt x="1094577" y="627958"/>
                    </a:cubicBezTo>
                    <a:cubicBezTo>
                      <a:pt x="1096723" y="630100"/>
                      <a:pt x="1100298" y="631527"/>
                      <a:pt x="1103159" y="631527"/>
                    </a:cubicBezTo>
                    <a:cubicBezTo>
                      <a:pt x="1105304" y="631527"/>
                      <a:pt x="1108165" y="630813"/>
                      <a:pt x="1109595" y="629386"/>
                    </a:cubicBezTo>
                    <a:cubicBezTo>
                      <a:pt x="1159655" y="588701"/>
                      <a:pt x="1159655" y="588701"/>
                      <a:pt x="1159655" y="588701"/>
                    </a:cubicBezTo>
                    <a:cubicBezTo>
                      <a:pt x="1161800" y="586560"/>
                      <a:pt x="1164661" y="585846"/>
                      <a:pt x="1166806" y="585846"/>
                    </a:cubicBezTo>
                    <a:cubicBezTo>
                      <a:pt x="1171812" y="585846"/>
                      <a:pt x="1175388" y="588701"/>
                      <a:pt x="1176818" y="593697"/>
                    </a:cubicBezTo>
                    <a:cubicBezTo>
                      <a:pt x="1242611" y="821391"/>
                      <a:pt x="1242611" y="821391"/>
                      <a:pt x="1242611" y="821391"/>
                    </a:cubicBezTo>
                    <a:cubicBezTo>
                      <a:pt x="1246187" y="831383"/>
                      <a:pt x="1237605" y="841376"/>
                      <a:pt x="1227593" y="841376"/>
                    </a:cubicBezTo>
                    <a:cubicBezTo>
                      <a:pt x="1224733" y="841376"/>
                      <a:pt x="1222588" y="840662"/>
                      <a:pt x="1220442" y="839949"/>
                    </a:cubicBezTo>
                    <a:cubicBezTo>
                      <a:pt x="999463" y="746444"/>
                      <a:pt x="999463" y="746444"/>
                      <a:pt x="999463" y="746444"/>
                    </a:cubicBezTo>
                    <a:cubicBezTo>
                      <a:pt x="988736" y="742162"/>
                      <a:pt x="988736" y="742162"/>
                      <a:pt x="988736" y="742162"/>
                    </a:cubicBezTo>
                    <a:cubicBezTo>
                      <a:pt x="981585" y="739307"/>
                      <a:pt x="980154" y="729314"/>
                      <a:pt x="986591" y="724318"/>
                    </a:cubicBezTo>
                    <a:cubicBezTo>
                      <a:pt x="1035220" y="687915"/>
                      <a:pt x="1035220" y="687915"/>
                      <a:pt x="1035220" y="687915"/>
                    </a:cubicBezTo>
                    <a:cubicBezTo>
                      <a:pt x="1040226" y="684346"/>
                      <a:pt x="1040941" y="677922"/>
                      <a:pt x="1037366" y="673640"/>
                    </a:cubicBezTo>
                    <a:cubicBezTo>
                      <a:pt x="906495" y="520179"/>
                      <a:pt x="906495" y="520179"/>
                      <a:pt x="906495" y="520179"/>
                    </a:cubicBezTo>
                    <a:cubicBezTo>
                      <a:pt x="905065" y="517324"/>
                      <a:pt x="901489" y="515896"/>
                      <a:pt x="897913" y="515896"/>
                    </a:cubicBezTo>
                    <a:cubicBezTo>
                      <a:pt x="895768" y="515896"/>
                      <a:pt x="894337" y="516610"/>
                      <a:pt x="892192" y="517324"/>
                    </a:cubicBezTo>
                    <a:cubicBezTo>
                      <a:pt x="892192" y="518037"/>
                      <a:pt x="892192" y="518037"/>
                      <a:pt x="892192" y="518037"/>
                    </a:cubicBezTo>
                    <a:cubicBezTo>
                      <a:pt x="866447" y="533740"/>
                      <a:pt x="866447" y="533740"/>
                      <a:pt x="866447" y="533740"/>
                    </a:cubicBezTo>
                    <a:cubicBezTo>
                      <a:pt x="716267" y="622962"/>
                      <a:pt x="716267" y="622962"/>
                      <a:pt x="716267" y="622962"/>
                    </a:cubicBezTo>
                    <a:cubicBezTo>
                      <a:pt x="714122" y="623676"/>
                      <a:pt x="712691" y="624390"/>
                      <a:pt x="710546" y="624390"/>
                    </a:cubicBezTo>
                    <a:cubicBezTo>
                      <a:pt x="706970" y="624390"/>
                      <a:pt x="704110" y="622962"/>
                      <a:pt x="701964" y="620821"/>
                    </a:cubicBezTo>
                    <a:cubicBezTo>
                      <a:pt x="691237" y="607259"/>
                      <a:pt x="691237" y="607259"/>
                      <a:pt x="691237" y="607259"/>
                    </a:cubicBezTo>
                    <a:cubicBezTo>
                      <a:pt x="665492" y="575853"/>
                      <a:pt x="665492" y="575853"/>
                      <a:pt x="665492" y="575853"/>
                    </a:cubicBezTo>
                    <a:cubicBezTo>
                      <a:pt x="488852" y="368145"/>
                      <a:pt x="488852" y="368145"/>
                      <a:pt x="488852" y="368145"/>
                    </a:cubicBezTo>
                    <a:cubicBezTo>
                      <a:pt x="457386" y="330315"/>
                      <a:pt x="457386" y="330315"/>
                      <a:pt x="457386" y="330315"/>
                    </a:cubicBezTo>
                    <a:cubicBezTo>
                      <a:pt x="455955" y="327460"/>
                      <a:pt x="452380" y="326033"/>
                      <a:pt x="449519" y="326033"/>
                    </a:cubicBezTo>
                    <a:cubicBezTo>
                      <a:pt x="448089" y="326033"/>
                      <a:pt x="446659" y="326033"/>
                      <a:pt x="445228" y="326747"/>
                    </a:cubicBezTo>
                    <a:cubicBezTo>
                      <a:pt x="292188" y="382421"/>
                      <a:pt x="292188" y="382421"/>
                      <a:pt x="292188" y="382421"/>
                    </a:cubicBezTo>
                    <a:cubicBezTo>
                      <a:pt x="290758" y="383135"/>
                      <a:pt x="289327" y="383135"/>
                      <a:pt x="288612" y="383135"/>
                    </a:cubicBezTo>
                    <a:cubicBezTo>
                      <a:pt x="285037" y="383135"/>
                      <a:pt x="281461" y="381707"/>
                      <a:pt x="279315" y="378852"/>
                    </a:cubicBezTo>
                    <a:cubicBezTo>
                      <a:pt x="256431" y="348874"/>
                      <a:pt x="256431" y="348874"/>
                      <a:pt x="256431" y="348874"/>
                    </a:cubicBezTo>
                    <a:cubicBezTo>
                      <a:pt x="81936" y="116898"/>
                      <a:pt x="81936" y="116898"/>
                      <a:pt x="81936" y="116898"/>
                    </a:cubicBezTo>
                    <a:cubicBezTo>
                      <a:pt x="61912" y="90488"/>
                      <a:pt x="61912" y="90488"/>
                      <a:pt x="61912" y="90488"/>
                    </a:cubicBezTo>
                    <a:close/>
                    <a:moveTo>
                      <a:pt x="30162" y="31750"/>
                    </a:moveTo>
                    <a:cubicBezTo>
                      <a:pt x="30162" y="31750"/>
                      <a:pt x="30162" y="31750"/>
                      <a:pt x="30162" y="900113"/>
                    </a:cubicBezTo>
                    <a:cubicBezTo>
                      <a:pt x="30162" y="900113"/>
                      <a:pt x="30162" y="900113"/>
                      <a:pt x="1274762" y="900113"/>
                    </a:cubicBezTo>
                    <a:cubicBezTo>
                      <a:pt x="1274762" y="900113"/>
                      <a:pt x="1274762" y="900113"/>
                      <a:pt x="1274762" y="31750"/>
                    </a:cubicBezTo>
                    <a:cubicBezTo>
                      <a:pt x="1274762" y="31750"/>
                      <a:pt x="1274762" y="31750"/>
                      <a:pt x="30162"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9" name="Freeform 8">
                <a:extLst>
                  <a:ext uri="{FF2B5EF4-FFF2-40B4-BE49-F238E27FC236}">
                    <a16:creationId xmlns:a16="http://schemas.microsoft.com/office/drawing/2014/main" id="{D652DBA8-ADBA-42DB-B9CD-19B3F8E11945}"/>
                  </a:ext>
                </a:extLst>
              </p:cNvPr>
              <p:cNvSpPr>
                <a:spLocks/>
              </p:cNvSpPr>
              <p:nvPr/>
            </p:nvSpPr>
            <p:spPr bwMode="auto">
              <a:xfrm>
                <a:off x="6696075" y="3105150"/>
                <a:ext cx="1147763" cy="727075"/>
              </a:xfrm>
              <a:custGeom>
                <a:avLst/>
                <a:gdLst>
                  <a:gd name="T0" fmla="*/ 1602 w 1606"/>
                  <a:gd name="T1" fmla="*/ 1017 h 1018"/>
                  <a:gd name="T2" fmla="*/ 1294 w 1606"/>
                  <a:gd name="T3" fmla="*/ 886 h 1018"/>
                  <a:gd name="T4" fmla="*/ 1280 w 1606"/>
                  <a:gd name="T5" fmla="*/ 881 h 1018"/>
                  <a:gd name="T6" fmla="*/ 1244 w 1606"/>
                  <a:gd name="T7" fmla="*/ 834 h 1018"/>
                  <a:gd name="T8" fmla="*/ 1267 w 1606"/>
                  <a:gd name="T9" fmla="*/ 780 h 1018"/>
                  <a:gd name="T10" fmla="*/ 1309 w 1606"/>
                  <a:gd name="T11" fmla="*/ 747 h 1018"/>
                  <a:gd name="T12" fmla="*/ 1163 w 1606"/>
                  <a:gd name="T13" fmla="*/ 576 h 1018"/>
                  <a:gd name="T14" fmla="*/ 1147 w 1606"/>
                  <a:gd name="T15" fmla="*/ 586 h 1018"/>
                  <a:gd name="T16" fmla="*/ 1147 w 1606"/>
                  <a:gd name="T17" fmla="*/ 586 h 1018"/>
                  <a:gd name="T18" fmla="*/ 938 w 1606"/>
                  <a:gd name="T19" fmla="*/ 710 h 1018"/>
                  <a:gd name="T20" fmla="*/ 907 w 1606"/>
                  <a:gd name="T21" fmla="*/ 719 h 1018"/>
                  <a:gd name="T22" fmla="*/ 862 w 1606"/>
                  <a:gd name="T23" fmla="*/ 699 h 1018"/>
                  <a:gd name="T24" fmla="*/ 860 w 1606"/>
                  <a:gd name="T25" fmla="*/ 697 h 1018"/>
                  <a:gd name="T26" fmla="*/ 846 w 1606"/>
                  <a:gd name="T27" fmla="*/ 678 h 1018"/>
                  <a:gd name="T28" fmla="*/ 810 w 1606"/>
                  <a:gd name="T29" fmla="*/ 635 h 1018"/>
                  <a:gd name="T30" fmla="*/ 564 w 1606"/>
                  <a:gd name="T31" fmla="*/ 344 h 1018"/>
                  <a:gd name="T32" fmla="*/ 563 w 1606"/>
                  <a:gd name="T33" fmla="*/ 344 h 1018"/>
                  <a:gd name="T34" fmla="*/ 532 w 1606"/>
                  <a:gd name="T35" fmla="*/ 306 h 1018"/>
                  <a:gd name="T36" fmla="*/ 337 w 1606"/>
                  <a:gd name="T37" fmla="*/ 377 h 1018"/>
                  <a:gd name="T38" fmla="*/ 335 w 1606"/>
                  <a:gd name="T39" fmla="*/ 378 h 1018"/>
                  <a:gd name="T40" fmla="*/ 317 w 1606"/>
                  <a:gd name="T41" fmla="*/ 381 h 1018"/>
                  <a:gd name="T42" fmla="*/ 270 w 1606"/>
                  <a:gd name="T43" fmla="*/ 359 h 1018"/>
                  <a:gd name="T44" fmla="*/ 269 w 1606"/>
                  <a:gd name="T45" fmla="*/ 357 h 1018"/>
                  <a:gd name="T46" fmla="*/ 237 w 1606"/>
                  <a:gd name="T47" fmla="*/ 315 h 1018"/>
                  <a:gd name="T48" fmla="*/ 0 w 1606"/>
                  <a:gd name="T49" fmla="*/ 0 h 1018"/>
                  <a:gd name="T50" fmla="*/ 0 w 1606"/>
                  <a:gd name="T51" fmla="*/ 1018 h 1018"/>
                  <a:gd name="T52" fmla="*/ 1606 w 1606"/>
                  <a:gd name="T53" fmla="*/ 1018 h 1018"/>
                  <a:gd name="T54" fmla="*/ 1602 w 1606"/>
                  <a:gd name="T55" fmla="*/ 101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6" h="1018">
                    <a:moveTo>
                      <a:pt x="1602" y="1017"/>
                    </a:moveTo>
                    <a:cubicBezTo>
                      <a:pt x="1294" y="886"/>
                      <a:pt x="1294" y="886"/>
                      <a:pt x="1294" y="886"/>
                    </a:cubicBezTo>
                    <a:cubicBezTo>
                      <a:pt x="1280" y="881"/>
                      <a:pt x="1280" y="881"/>
                      <a:pt x="1280" y="881"/>
                    </a:cubicBezTo>
                    <a:cubicBezTo>
                      <a:pt x="1260" y="873"/>
                      <a:pt x="1246" y="855"/>
                      <a:pt x="1244" y="834"/>
                    </a:cubicBezTo>
                    <a:cubicBezTo>
                      <a:pt x="1241" y="813"/>
                      <a:pt x="1249" y="792"/>
                      <a:pt x="1267" y="780"/>
                    </a:cubicBezTo>
                    <a:cubicBezTo>
                      <a:pt x="1309" y="747"/>
                      <a:pt x="1309" y="747"/>
                      <a:pt x="1309" y="747"/>
                    </a:cubicBezTo>
                    <a:cubicBezTo>
                      <a:pt x="1163" y="576"/>
                      <a:pt x="1163" y="576"/>
                      <a:pt x="1163" y="576"/>
                    </a:cubicBezTo>
                    <a:cubicBezTo>
                      <a:pt x="1147" y="586"/>
                      <a:pt x="1147" y="586"/>
                      <a:pt x="1147" y="586"/>
                    </a:cubicBezTo>
                    <a:cubicBezTo>
                      <a:pt x="1147" y="586"/>
                      <a:pt x="1147" y="586"/>
                      <a:pt x="1147" y="586"/>
                    </a:cubicBezTo>
                    <a:cubicBezTo>
                      <a:pt x="938" y="710"/>
                      <a:pt x="938" y="710"/>
                      <a:pt x="938" y="710"/>
                    </a:cubicBezTo>
                    <a:cubicBezTo>
                      <a:pt x="928" y="716"/>
                      <a:pt x="918" y="719"/>
                      <a:pt x="907" y="719"/>
                    </a:cubicBezTo>
                    <a:cubicBezTo>
                      <a:pt x="890" y="719"/>
                      <a:pt x="873" y="712"/>
                      <a:pt x="862" y="699"/>
                    </a:cubicBezTo>
                    <a:cubicBezTo>
                      <a:pt x="861" y="698"/>
                      <a:pt x="861" y="697"/>
                      <a:pt x="860" y="697"/>
                    </a:cubicBezTo>
                    <a:cubicBezTo>
                      <a:pt x="846" y="678"/>
                      <a:pt x="846" y="678"/>
                      <a:pt x="846" y="678"/>
                    </a:cubicBezTo>
                    <a:cubicBezTo>
                      <a:pt x="810" y="635"/>
                      <a:pt x="810" y="635"/>
                      <a:pt x="810" y="635"/>
                    </a:cubicBezTo>
                    <a:cubicBezTo>
                      <a:pt x="564" y="344"/>
                      <a:pt x="564" y="344"/>
                      <a:pt x="564" y="344"/>
                    </a:cubicBezTo>
                    <a:cubicBezTo>
                      <a:pt x="564" y="344"/>
                      <a:pt x="564" y="344"/>
                      <a:pt x="563" y="344"/>
                    </a:cubicBezTo>
                    <a:cubicBezTo>
                      <a:pt x="532" y="306"/>
                      <a:pt x="532" y="306"/>
                      <a:pt x="532" y="306"/>
                    </a:cubicBezTo>
                    <a:cubicBezTo>
                      <a:pt x="337" y="377"/>
                      <a:pt x="337" y="377"/>
                      <a:pt x="337" y="377"/>
                    </a:cubicBezTo>
                    <a:cubicBezTo>
                      <a:pt x="336" y="378"/>
                      <a:pt x="336" y="378"/>
                      <a:pt x="335" y="378"/>
                    </a:cubicBezTo>
                    <a:cubicBezTo>
                      <a:pt x="329" y="380"/>
                      <a:pt x="323" y="381"/>
                      <a:pt x="317" y="381"/>
                    </a:cubicBezTo>
                    <a:cubicBezTo>
                      <a:pt x="298" y="381"/>
                      <a:pt x="282" y="373"/>
                      <a:pt x="270" y="359"/>
                    </a:cubicBezTo>
                    <a:cubicBezTo>
                      <a:pt x="270" y="359"/>
                      <a:pt x="269" y="358"/>
                      <a:pt x="269" y="357"/>
                    </a:cubicBezTo>
                    <a:cubicBezTo>
                      <a:pt x="237" y="315"/>
                      <a:pt x="237" y="315"/>
                      <a:pt x="237" y="315"/>
                    </a:cubicBezTo>
                    <a:cubicBezTo>
                      <a:pt x="0" y="0"/>
                      <a:pt x="0" y="0"/>
                      <a:pt x="0" y="0"/>
                    </a:cubicBezTo>
                    <a:cubicBezTo>
                      <a:pt x="0" y="1018"/>
                      <a:pt x="0" y="1018"/>
                      <a:pt x="0" y="1018"/>
                    </a:cubicBezTo>
                    <a:cubicBezTo>
                      <a:pt x="1606" y="1018"/>
                      <a:pt x="1606" y="1018"/>
                      <a:pt x="1606" y="1018"/>
                    </a:cubicBezTo>
                    <a:cubicBezTo>
                      <a:pt x="1605" y="1018"/>
                      <a:pt x="1604" y="1018"/>
                      <a:pt x="1602" y="10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0" name="Group 12">
            <a:extLst>
              <a:ext uri="{FF2B5EF4-FFF2-40B4-BE49-F238E27FC236}">
                <a16:creationId xmlns:a16="http://schemas.microsoft.com/office/drawing/2014/main" id="{83ED2F30-5965-4CA3-8F9C-6DFAF5560C98}"/>
              </a:ext>
            </a:extLst>
          </p:cNvPr>
          <p:cNvGrpSpPr>
            <a:grpSpLocks noChangeAspect="1"/>
          </p:cNvGrpSpPr>
          <p:nvPr/>
        </p:nvGrpSpPr>
        <p:grpSpPr>
          <a:xfrm>
            <a:off x="1514711" y="5751582"/>
            <a:ext cx="997922" cy="997922"/>
            <a:chOff x="5273675" y="2606675"/>
            <a:chExt cx="1644650" cy="1644650"/>
          </a:xfrm>
        </p:grpSpPr>
        <p:sp>
          <p:nvSpPr>
            <p:cNvPr id="51" name="AutoShape 3">
              <a:extLst>
                <a:ext uri="{FF2B5EF4-FFF2-40B4-BE49-F238E27FC236}">
                  <a16:creationId xmlns:a16="http://schemas.microsoft.com/office/drawing/2014/main" id="{9D50D982-6A7E-4F0D-8AB8-4453FCF4008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 name="Group 14">
              <a:extLst>
                <a:ext uri="{FF2B5EF4-FFF2-40B4-BE49-F238E27FC236}">
                  <a16:creationId xmlns:a16="http://schemas.microsoft.com/office/drawing/2014/main" id="{28289204-1908-4D59-BF09-52E52665AAA6}"/>
                </a:ext>
              </a:extLst>
            </p:cNvPr>
            <p:cNvGrpSpPr/>
            <p:nvPr/>
          </p:nvGrpSpPr>
          <p:grpSpPr>
            <a:xfrm>
              <a:off x="5445124" y="2962275"/>
              <a:ext cx="1363857" cy="1236663"/>
              <a:chOff x="5445124" y="2962275"/>
              <a:chExt cx="1363857" cy="1236663"/>
            </a:xfrm>
          </p:grpSpPr>
          <p:sp>
            <p:nvSpPr>
              <p:cNvPr id="53" name="Freeform 15">
                <a:extLst>
                  <a:ext uri="{FF2B5EF4-FFF2-40B4-BE49-F238E27FC236}">
                    <a16:creationId xmlns:a16="http://schemas.microsoft.com/office/drawing/2014/main" id="{FA08EC66-98D3-4AC5-9CC1-C58A7B50F6FC}"/>
                  </a:ext>
                </a:extLst>
              </p:cNvPr>
              <p:cNvSpPr>
                <a:spLocks/>
              </p:cNvSpPr>
              <p:nvPr/>
            </p:nvSpPr>
            <p:spPr bwMode="auto">
              <a:xfrm>
                <a:off x="5508625" y="3025775"/>
                <a:ext cx="1176338" cy="806451"/>
              </a:xfrm>
              <a:custGeom>
                <a:avLst/>
                <a:gdLst>
                  <a:gd name="connsiteX0" fmla="*/ 14945 w 1176338"/>
                  <a:gd name="connsiteY0" fmla="*/ 684213 h 806451"/>
                  <a:gd name="connsiteX1" fmla="*/ 252632 w 1176338"/>
                  <a:gd name="connsiteY1" fmla="*/ 684213 h 806451"/>
                  <a:gd name="connsiteX2" fmla="*/ 268288 w 1176338"/>
                  <a:gd name="connsiteY2" fmla="*/ 699940 h 806451"/>
                  <a:gd name="connsiteX3" fmla="*/ 268288 w 1176338"/>
                  <a:gd name="connsiteY3" fmla="*/ 790725 h 806451"/>
                  <a:gd name="connsiteX4" fmla="*/ 252632 w 1176338"/>
                  <a:gd name="connsiteY4" fmla="*/ 806451 h 806451"/>
                  <a:gd name="connsiteX5" fmla="*/ 14945 w 1176338"/>
                  <a:gd name="connsiteY5" fmla="*/ 806451 h 806451"/>
                  <a:gd name="connsiteX6" fmla="*/ 0 w 1176338"/>
                  <a:gd name="connsiteY6" fmla="*/ 790725 h 806451"/>
                  <a:gd name="connsiteX7" fmla="*/ 0 w 1176338"/>
                  <a:gd name="connsiteY7" fmla="*/ 699940 h 806451"/>
                  <a:gd name="connsiteX8" fmla="*/ 14945 w 1176338"/>
                  <a:gd name="connsiteY8" fmla="*/ 684213 h 806451"/>
                  <a:gd name="connsiteX9" fmla="*/ 318056 w 1176338"/>
                  <a:gd name="connsiteY9" fmla="*/ 460375 h 806451"/>
                  <a:gd name="connsiteX10" fmla="*/ 368776 w 1176338"/>
                  <a:gd name="connsiteY10" fmla="*/ 460375 h 806451"/>
                  <a:gd name="connsiteX11" fmla="*/ 450930 w 1176338"/>
                  <a:gd name="connsiteY11" fmla="*/ 785043 h 806451"/>
                  <a:gd name="connsiteX12" fmla="*/ 473075 w 1176338"/>
                  <a:gd name="connsiteY12" fmla="*/ 806450 h 806451"/>
                  <a:gd name="connsiteX13" fmla="*/ 318056 w 1176338"/>
                  <a:gd name="connsiteY13" fmla="*/ 806450 h 806451"/>
                  <a:gd name="connsiteX14" fmla="*/ 301625 w 1176338"/>
                  <a:gd name="connsiteY14" fmla="*/ 790752 h 806451"/>
                  <a:gd name="connsiteX15" fmla="*/ 301625 w 1176338"/>
                  <a:gd name="connsiteY15" fmla="*/ 476073 h 806451"/>
                  <a:gd name="connsiteX16" fmla="*/ 318056 w 1176338"/>
                  <a:gd name="connsiteY16" fmla="*/ 460375 h 806451"/>
                  <a:gd name="connsiteX17" fmla="*/ 544513 w 1176338"/>
                  <a:gd name="connsiteY17" fmla="*/ 368300 h 806451"/>
                  <a:gd name="connsiteX18" fmla="*/ 544513 w 1176338"/>
                  <a:gd name="connsiteY18" fmla="*/ 461721 h 806451"/>
                  <a:gd name="connsiteX19" fmla="*/ 544513 w 1176338"/>
                  <a:gd name="connsiteY19" fmla="*/ 733425 h 806451"/>
                  <a:gd name="connsiteX20" fmla="*/ 524052 w 1176338"/>
                  <a:gd name="connsiteY20" fmla="*/ 714171 h 806451"/>
                  <a:gd name="connsiteX21" fmla="*/ 476780 w 1176338"/>
                  <a:gd name="connsiteY21" fmla="*/ 461721 h 806451"/>
                  <a:gd name="connsiteX22" fmla="*/ 530402 w 1176338"/>
                  <a:gd name="connsiteY22" fmla="*/ 381136 h 806451"/>
                  <a:gd name="connsiteX23" fmla="*/ 544513 w 1176338"/>
                  <a:gd name="connsiteY23" fmla="*/ 368300 h 806451"/>
                  <a:gd name="connsiteX24" fmla="*/ 693338 w 1176338"/>
                  <a:gd name="connsiteY24" fmla="*/ 312738 h 806451"/>
                  <a:gd name="connsiteX25" fmla="*/ 862099 w 1176338"/>
                  <a:gd name="connsiteY25" fmla="*/ 385739 h 806451"/>
                  <a:gd name="connsiteX26" fmla="*/ 872825 w 1176338"/>
                  <a:gd name="connsiteY26" fmla="*/ 398621 h 806451"/>
                  <a:gd name="connsiteX27" fmla="*/ 907150 w 1176338"/>
                  <a:gd name="connsiteY27" fmla="*/ 452299 h 806451"/>
                  <a:gd name="connsiteX28" fmla="*/ 907150 w 1176338"/>
                  <a:gd name="connsiteY28" fmla="*/ 647684 h 806451"/>
                  <a:gd name="connsiteX29" fmla="*/ 875686 w 1176338"/>
                  <a:gd name="connsiteY29" fmla="*/ 698498 h 806451"/>
                  <a:gd name="connsiteX30" fmla="*/ 872825 w 1176338"/>
                  <a:gd name="connsiteY30" fmla="*/ 701361 h 806451"/>
                  <a:gd name="connsiteX31" fmla="*/ 856378 w 1176338"/>
                  <a:gd name="connsiteY31" fmla="*/ 719969 h 806451"/>
                  <a:gd name="connsiteX32" fmla="*/ 837786 w 1176338"/>
                  <a:gd name="connsiteY32" fmla="*/ 736430 h 806451"/>
                  <a:gd name="connsiteX33" fmla="*/ 836356 w 1176338"/>
                  <a:gd name="connsiteY33" fmla="*/ 737146 h 806451"/>
                  <a:gd name="connsiteX34" fmla="*/ 693338 w 1176338"/>
                  <a:gd name="connsiteY34" fmla="*/ 785813 h 806451"/>
                  <a:gd name="connsiteX35" fmla="*/ 617538 w 1176338"/>
                  <a:gd name="connsiteY35" fmla="*/ 773646 h 806451"/>
                  <a:gd name="connsiteX36" fmla="*/ 617538 w 1176338"/>
                  <a:gd name="connsiteY36" fmla="*/ 324905 h 806451"/>
                  <a:gd name="connsiteX37" fmla="*/ 693338 w 1176338"/>
                  <a:gd name="connsiteY37" fmla="*/ 312738 h 806451"/>
                  <a:gd name="connsiteX38" fmla="*/ 922170 w 1176338"/>
                  <a:gd name="connsiteY38" fmla="*/ 0 h 806451"/>
                  <a:gd name="connsiteX39" fmla="*/ 1160631 w 1176338"/>
                  <a:gd name="connsiteY39" fmla="*/ 0 h 806451"/>
                  <a:gd name="connsiteX40" fmla="*/ 1176338 w 1176338"/>
                  <a:gd name="connsiteY40" fmla="*/ 15701 h 806451"/>
                  <a:gd name="connsiteX41" fmla="*/ 1176338 w 1176338"/>
                  <a:gd name="connsiteY41" fmla="*/ 790749 h 806451"/>
                  <a:gd name="connsiteX42" fmla="*/ 1160631 w 1176338"/>
                  <a:gd name="connsiteY42" fmla="*/ 806450 h 806451"/>
                  <a:gd name="connsiteX43" fmla="*/ 1094233 w 1176338"/>
                  <a:gd name="connsiteY43" fmla="*/ 806450 h 806451"/>
                  <a:gd name="connsiteX44" fmla="*/ 1092092 w 1176338"/>
                  <a:gd name="connsiteY44" fmla="*/ 804309 h 806451"/>
                  <a:gd name="connsiteX45" fmla="*/ 1063533 w 1176338"/>
                  <a:gd name="connsiteY45" fmla="*/ 790749 h 806451"/>
                  <a:gd name="connsiteX46" fmla="*/ 1060678 w 1176338"/>
                  <a:gd name="connsiteY46" fmla="*/ 790036 h 806451"/>
                  <a:gd name="connsiteX47" fmla="*/ 1058536 w 1176338"/>
                  <a:gd name="connsiteY47" fmla="*/ 790036 h 806451"/>
                  <a:gd name="connsiteX48" fmla="*/ 1042829 w 1176338"/>
                  <a:gd name="connsiteY48" fmla="*/ 792890 h 806451"/>
                  <a:gd name="connsiteX49" fmla="*/ 1034975 w 1176338"/>
                  <a:gd name="connsiteY49" fmla="*/ 782185 h 806451"/>
                  <a:gd name="connsiteX50" fmla="*/ 980715 w 1176338"/>
                  <a:gd name="connsiteY50" fmla="*/ 725805 h 806451"/>
                  <a:gd name="connsiteX51" fmla="*/ 935021 w 1176338"/>
                  <a:gd name="connsiteY51" fmla="*/ 316870 h 806451"/>
                  <a:gd name="connsiteX52" fmla="*/ 906463 w 1176338"/>
                  <a:gd name="connsiteY52" fmla="*/ 289751 h 806451"/>
                  <a:gd name="connsiteX53" fmla="*/ 906463 w 1176338"/>
                  <a:gd name="connsiteY53" fmla="*/ 15701 h 806451"/>
                  <a:gd name="connsiteX54" fmla="*/ 922170 w 1176338"/>
                  <a:gd name="connsiteY54"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6338" h="806451">
                    <a:moveTo>
                      <a:pt x="14945" y="684213"/>
                    </a:moveTo>
                    <a:cubicBezTo>
                      <a:pt x="14945" y="684213"/>
                      <a:pt x="14945" y="684213"/>
                      <a:pt x="252632" y="684213"/>
                    </a:cubicBezTo>
                    <a:cubicBezTo>
                      <a:pt x="261172" y="684213"/>
                      <a:pt x="268288" y="691362"/>
                      <a:pt x="268288" y="699940"/>
                    </a:cubicBezTo>
                    <a:cubicBezTo>
                      <a:pt x="268288" y="699940"/>
                      <a:pt x="268288" y="699940"/>
                      <a:pt x="268288" y="790725"/>
                    </a:cubicBezTo>
                    <a:cubicBezTo>
                      <a:pt x="268288" y="800018"/>
                      <a:pt x="261172" y="806451"/>
                      <a:pt x="252632" y="806451"/>
                    </a:cubicBezTo>
                    <a:cubicBezTo>
                      <a:pt x="252632" y="806451"/>
                      <a:pt x="252632" y="806451"/>
                      <a:pt x="14945" y="806451"/>
                    </a:cubicBezTo>
                    <a:cubicBezTo>
                      <a:pt x="7117" y="806451"/>
                      <a:pt x="0" y="800018"/>
                      <a:pt x="0" y="790725"/>
                    </a:cubicBezTo>
                    <a:cubicBezTo>
                      <a:pt x="0" y="790725"/>
                      <a:pt x="0" y="790725"/>
                      <a:pt x="0" y="699940"/>
                    </a:cubicBezTo>
                    <a:cubicBezTo>
                      <a:pt x="0" y="691362"/>
                      <a:pt x="7117" y="684213"/>
                      <a:pt x="14945" y="684213"/>
                    </a:cubicBezTo>
                    <a:close/>
                    <a:moveTo>
                      <a:pt x="318056" y="460375"/>
                    </a:moveTo>
                    <a:cubicBezTo>
                      <a:pt x="318056" y="460375"/>
                      <a:pt x="318056" y="460375"/>
                      <a:pt x="368776" y="460375"/>
                    </a:cubicBezTo>
                    <a:cubicBezTo>
                      <a:pt x="338773" y="571690"/>
                      <a:pt x="365919" y="696562"/>
                      <a:pt x="450930" y="785043"/>
                    </a:cubicBezTo>
                    <a:cubicBezTo>
                      <a:pt x="458073" y="792893"/>
                      <a:pt x="465217" y="800028"/>
                      <a:pt x="473075" y="806450"/>
                    </a:cubicBezTo>
                    <a:cubicBezTo>
                      <a:pt x="473075" y="806450"/>
                      <a:pt x="473075" y="806450"/>
                      <a:pt x="318056" y="806450"/>
                    </a:cubicBezTo>
                    <a:cubicBezTo>
                      <a:pt x="308055" y="806450"/>
                      <a:pt x="301625" y="800028"/>
                      <a:pt x="301625" y="790752"/>
                    </a:cubicBezTo>
                    <a:cubicBezTo>
                      <a:pt x="301625" y="790752"/>
                      <a:pt x="301625" y="790752"/>
                      <a:pt x="301625" y="476073"/>
                    </a:cubicBezTo>
                    <a:cubicBezTo>
                      <a:pt x="301625" y="467510"/>
                      <a:pt x="308055" y="460375"/>
                      <a:pt x="318056" y="460375"/>
                    </a:cubicBezTo>
                    <a:close/>
                    <a:moveTo>
                      <a:pt x="544513" y="368300"/>
                    </a:moveTo>
                    <a:cubicBezTo>
                      <a:pt x="544513" y="368300"/>
                      <a:pt x="544513" y="368300"/>
                      <a:pt x="544513" y="461721"/>
                    </a:cubicBezTo>
                    <a:cubicBezTo>
                      <a:pt x="544513" y="461721"/>
                      <a:pt x="544513" y="461721"/>
                      <a:pt x="544513" y="733425"/>
                    </a:cubicBezTo>
                    <a:cubicBezTo>
                      <a:pt x="537458" y="727007"/>
                      <a:pt x="530402" y="721302"/>
                      <a:pt x="524052" y="714171"/>
                    </a:cubicBezTo>
                    <a:cubicBezTo>
                      <a:pt x="458435" y="644996"/>
                      <a:pt x="442913" y="545157"/>
                      <a:pt x="476780" y="461721"/>
                    </a:cubicBezTo>
                    <a:cubicBezTo>
                      <a:pt x="488069" y="432482"/>
                      <a:pt x="506413" y="404670"/>
                      <a:pt x="530402" y="381136"/>
                    </a:cubicBezTo>
                    <a:cubicBezTo>
                      <a:pt x="534635" y="376857"/>
                      <a:pt x="539574" y="372579"/>
                      <a:pt x="544513" y="368300"/>
                    </a:cubicBezTo>
                    <a:close/>
                    <a:moveTo>
                      <a:pt x="693338" y="312738"/>
                    </a:moveTo>
                    <a:cubicBezTo>
                      <a:pt x="757696" y="312738"/>
                      <a:pt x="818479" y="338503"/>
                      <a:pt x="862099" y="385739"/>
                    </a:cubicBezTo>
                    <a:cubicBezTo>
                      <a:pt x="866390" y="390033"/>
                      <a:pt x="869965" y="394327"/>
                      <a:pt x="872825" y="398621"/>
                    </a:cubicBezTo>
                    <a:cubicBezTo>
                      <a:pt x="887127" y="415082"/>
                      <a:pt x="897854" y="432975"/>
                      <a:pt x="907150" y="452299"/>
                    </a:cubicBezTo>
                    <a:cubicBezTo>
                      <a:pt x="935038" y="513848"/>
                      <a:pt x="935038" y="585418"/>
                      <a:pt x="907150" y="647684"/>
                    </a:cubicBezTo>
                    <a:cubicBezTo>
                      <a:pt x="898569" y="665576"/>
                      <a:pt x="888557" y="682753"/>
                      <a:pt x="875686" y="698498"/>
                    </a:cubicBezTo>
                    <a:cubicBezTo>
                      <a:pt x="874971" y="699214"/>
                      <a:pt x="874256" y="700645"/>
                      <a:pt x="872825" y="701361"/>
                    </a:cubicBezTo>
                    <a:cubicBezTo>
                      <a:pt x="867820" y="707802"/>
                      <a:pt x="862099" y="714244"/>
                      <a:pt x="856378" y="719969"/>
                    </a:cubicBezTo>
                    <a:cubicBezTo>
                      <a:pt x="849227" y="727126"/>
                      <a:pt x="842792" y="732136"/>
                      <a:pt x="837786" y="736430"/>
                    </a:cubicBezTo>
                    <a:cubicBezTo>
                      <a:pt x="837786" y="736430"/>
                      <a:pt x="837786" y="736430"/>
                      <a:pt x="836356" y="737146"/>
                    </a:cubicBezTo>
                    <a:cubicBezTo>
                      <a:pt x="795596" y="768636"/>
                      <a:pt x="744824" y="785813"/>
                      <a:pt x="693338" y="785813"/>
                    </a:cubicBezTo>
                    <a:cubicBezTo>
                      <a:pt x="666879" y="785813"/>
                      <a:pt x="641851" y="781519"/>
                      <a:pt x="617538" y="773646"/>
                    </a:cubicBezTo>
                    <a:cubicBezTo>
                      <a:pt x="617538" y="773646"/>
                      <a:pt x="617538" y="773646"/>
                      <a:pt x="617538" y="324905"/>
                    </a:cubicBezTo>
                    <a:cubicBezTo>
                      <a:pt x="641851" y="317032"/>
                      <a:pt x="666879" y="312738"/>
                      <a:pt x="693338" y="312738"/>
                    </a:cubicBezTo>
                    <a:close/>
                    <a:moveTo>
                      <a:pt x="922170" y="0"/>
                    </a:moveTo>
                    <a:cubicBezTo>
                      <a:pt x="922170" y="0"/>
                      <a:pt x="922170" y="0"/>
                      <a:pt x="1160631" y="0"/>
                    </a:cubicBezTo>
                    <a:cubicBezTo>
                      <a:pt x="1169199" y="0"/>
                      <a:pt x="1176338" y="6423"/>
                      <a:pt x="1176338" y="15701"/>
                    </a:cubicBezTo>
                    <a:cubicBezTo>
                      <a:pt x="1176338" y="15701"/>
                      <a:pt x="1176338" y="15701"/>
                      <a:pt x="1176338" y="790749"/>
                    </a:cubicBezTo>
                    <a:cubicBezTo>
                      <a:pt x="1176338" y="800027"/>
                      <a:pt x="1169199" y="806450"/>
                      <a:pt x="1160631" y="806450"/>
                    </a:cubicBezTo>
                    <a:cubicBezTo>
                      <a:pt x="1160631" y="806450"/>
                      <a:pt x="1160631" y="806450"/>
                      <a:pt x="1094233" y="806450"/>
                    </a:cubicBezTo>
                    <a:cubicBezTo>
                      <a:pt x="1094233" y="806450"/>
                      <a:pt x="1094233" y="806450"/>
                      <a:pt x="1092092" y="804309"/>
                    </a:cubicBezTo>
                    <a:cubicBezTo>
                      <a:pt x="1084238" y="797172"/>
                      <a:pt x="1074243" y="792177"/>
                      <a:pt x="1063533" y="790749"/>
                    </a:cubicBezTo>
                    <a:cubicBezTo>
                      <a:pt x="1063533" y="790749"/>
                      <a:pt x="1063533" y="790749"/>
                      <a:pt x="1060678" y="790036"/>
                    </a:cubicBezTo>
                    <a:cubicBezTo>
                      <a:pt x="1060678" y="790036"/>
                      <a:pt x="1060678" y="790036"/>
                      <a:pt x="1058536" y="790036"/>
                    </a:cubicBezTo>
                    <a:cubicBezTo>
                      <a:pt x="1052824" y="790036"/>
                      <a:pt x="1047826" y="790749"/>
                      <a:pt x="1042829" y="792890"/>
                    </a:cubicBezTo>
                    <a:cubicBezTo>
                      <a:pt x="1040687" y="789322"/>
                      <a:pt x="1037831" y="785754"/>
                      <a:pt x="1034975" y="782185"/>
                    </a:cubicBezTo>
                    <a:cubicBezTo>
                      <a:pt x="1034975" y="782185"/>
                      <a:pt x="1034975" y="782185"/>
                      <a:pt x="980715" y="725805"/>
                    </a:cubicBezTo>
                    <a:cubicBezTo>
                      <a:pt x="1059250" y="595916"/>
                      <a:pt x="1041401" y="427490"/>
                      <a:pt x="935021" y="316870"/>
                    </a:cubicBezTo>
                    <a:cubicBezTo>
                      <a:pt x="925740" y="306879"/>
                      <a:pt x="916459" y="298315"/>
                      <a:pt x="906463" y="289751"/>
                    </a:cubicBezTo>
                    <a:cubicBezTo>
                      <a:pt x="906463" y="289751"/>
                      <a:pt x="906463" y="289751"/>
                      <a:pt x="906463" y="15701"/>
                    </a:cubicBezTo>
                    <a:cubicBezTo>
                      <a:pt x="906463" y="6423"/>
                      <a:pt x="912889" y="0"/>
                      <a:pt x="9221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4" name="Freeform 16">
                <a:extLst>
                  <a:ext uri="{FF2B5EF4-FFF2-40B4-BE49-F238E27FC236}">
                    <a16:creationId xmlns:a16="http://schemas.microsoft.com/office/drawing/2014/main" id="{D4E60D54-5376-4B4E-81AB-83469C2C8F8A}"/>
                  </a:ext>
                </a:extLst>
              </p:cNvPr>
              <p:cNvSpPr>
                <a:spLocks/>
              </p:cNvSpPr>
              <p:nvPr/>
            </p:nvSpPr>
            <p:spPr bwMode="auto">
              <a:xfrm>
                <a:off x="5445124" y="2962275"/>
                <a:ext cx="1363857" cy="1236663"/>
              </a:xfrm>
              <a:custGeom>
                <a:avLst/>
                <a:gdLst>
                  <a:gd name="connsiteX0" fmla="*/ 1122942 w 1363857"/>
                  <a:gd name="connsiteY0" fmla="*/ 922338 h 1236663"/>
                  <a:gd name="connsiteX1" fmla="*/ 1112236 w 1363857"/>
                  <a:gd name="connsiteY1" fmla="*/ 931620 h 1236663"/>
                  <a:gd name="connsiteX2" fmla="*/ 1057276 w 1363857"/>
                  <a:gd name="connsiteY2" fmla="*/ 985168 h 1236663"/>
                  <a:gd name="connsiteX3" fmla="*/ 1267122 w 1363857"/>
                  <a:gd name="connsiteY3" fmla="*/ 1204359 h 1236663"/>
                  <a:gd name="connsiteX4" fmla="*/ 1279256 w 1363857"/>
                  <a:gd name="connsiteY4" fmla="*/ 1204359 h 1236663"/>
                  <a:gd name="connsiteX5" fmla="*/ 1309947 w 1363857"/>
                  <a:gd name="connsiteY5" fmla="*/ 1184368 h 1236663"/>
                  <a:gd name="connsiteX6" fmla="*/ 1330646 w 1363857"/>
                  <a:gd name="connsiteY6" fmla="*/ 1154381 h 1236663"/>
                  <a:gd name="connsiteX7" fmla="*/ 1332074 w 1363857"/>
                  <a:gd name="connsiteY7" fmla="*/ 1141529 h 1236663"/>
                  <a:gd name="connsiteX8" fmla="*/ 1131507 w 1363857"/>
                  <a:gd name="connsiteY8" fmla="*/ 931620 h 1236663"/>
                  <a:gd name="connsiteX9" fmla="*/ 1122942 w 1363857"/>
                  <a:gd name="connsiteY9" fmla="*/ 922338 h 1236663"/>
                  <a:gd name="connsiteX10" fmla="*/ 924966 w 1363857"/>
                  <a:gd name="connsiteY10" fmla="*/ 906463 h 1236663"/>
                  <a:gd name="connsiteX11" fmla="*/ 949326 w 1363857"/>
                  <a:gd name="connsiteY11" fmla="*/ 930276 h 1236663"/>
                  <a:gd name="connsiteX12" fmla="*/ 868363 w 1363857"/>
                  <a:gd name="connsiteY12" fmla="*/ 930276 h 1236663"/>
                  <a:gd name="connsiteX13" fmla="*/ 924966 w 1363857"/>
                  <a:gd name="connsiteY13" fmla="*/ 906463 h 1236663"/>
                  <a:gd name="connsiteX14" fmla="*/ 1124399 w 1363857"/>
                  <a:gd name="connsiteY14" fmla="*/ 884238 h 1236663"/>
                  <a:gd name="connsiteX15" fmla="*/ 1134353 w 1363857"/>
                  <a:gd name="connsiteY15" fmla="*/ 889232 h 1236663"/>
                  <a:gd name="connsiteX16" fmla="*/ 1145017 w 1363857"/>
                  <a:gd name="connsiteY16" fmla="*/ 900647 h 1236663"/>
                  <a:gd name="connsiteX17" fmla="*/ 1174878 w 1363857"/>
                  <a:gd name="connsiteY17" fmla="*/ 932037 h 1236663"/>
                  <a:gd name="connsiteX18" fmla="*/ 1354042 w 1363857"/>
                  <a:gd name="connsiteY18" fmla="*/ 1120377 h 1236663"/>
                  <a:gd name="connsiteX19" fmla="*/ 1360441 w 1363857"/>
                  <a:gd name="connsiteY19" fmla="*/ 1164609 h 1236663"/>
                  <a:gd name="connsiteX20" fmla="*/ 1332002 w 1363857"/>
                  <a:gd name="connsiteY20" fmla="*/ 1207413 h 1236663"/>
                  <a:gd name="connsiteX21" fmla="*/ 1287922 w 1363857"/>
                  <a:gd name="connsiteY21" fmla="*/ 1234523 h 1236663"/>
                  <a:gd name="connsiteX22" fmla="*/ 1270859 w 1363857"/>
                  <a:gd name="connsiteY22" fmla="*/ 1236663 h 1236663"/>
                  <a:gd name="connsiteX23" fmla="*/ 1244553 w 1363857"/>
                  <a:gd name="connsiteY23" fmla="*/ 1225962 h 1236663"/>
                  <a:gd name="connsiteX24" fmla="*/ 1024864 w 1363857"/>
                  <a:gd name="connsiteY24" fmla="*/ 996244 h 1236663"/>
                  <a:gd name="connsiteX25" fmla="*/ 1025575 w 1363857"/>
                  <a:gd name="connsiteY25" fmla="*/ 974128 h 1236663"/>
                  <a:gd name="connsiteX26" fmla="*/ 1068233 w 1363857"/>
                  <a:gd name="connsiteY26" fmla="*/ 932037 h 1236663"/>
                  <a:gd name="connsiteX27" fmla="*/ 1076054 w 1363857"/>
                  <a:gd name="connsiteY27" fmla="*/ 924903 h 1236663"/>
                  <a:gd name="connsiteX28" fmla="*/ 1100227 w 1363857"/>
                  <a:gd name="connsiteY28" fmla="*/ 900647 h 1236663"/>
                  <a:gd name="connsiteX29" fmla="*/ 1103781 w 1363857"/>
                  <a:gd name="connsiteY29" fmla="*/ 897793 h 1236663"/>
                  <a:gd name="connsiteX30" fmla="*/ 1113024 w 1363857"/>
                  <a:gd name="connsiteY30" fmla="*/ 889232 h 1236663"/>
                  <a:gd name="connsiteX31" fmla="*/ 1124399 w 1363857"/>
                  <a:gd name="connsiteY31" fmla="*/ 884238 h 1236663"/>
                  <a:gd name="connsiteX32" fmla="*/ 737549 w 1363857"/>
                  <a:gd name="connsiteY32" fmla="*/ 345813 h 1236663"/>
                  <a:gd name="connsiteX33" fmla="*/ 667227 w 1363857"/>
                  <a:gd name="connsiteY33" fmla="*/ 359983 h 1236663"/>
                  <a:gd name="connsiteX34" fmla="*/ 570072 w 1363857"/>
                  <a:gd name="connsiteY34" fmla="*/ 419872 h 1236663"/>
                  <a:gd name="connsiteX35" fmla="*/ 503635 w 1363857"/>
                  <a:gd name="connsiteY35" fmla="*/ 523965 h 1236663"/>
                  <a:gd name="connsiteX36" fmla="*/ 562928 w 1363857"/>
                  <a:gd name="connsiteY36" fmla="*/ 799168 h 1236663"/>
                  <a:gd name="connsiteX37" fmla="*/ 634366 w 1363857"/>
                  <a:gd name="connsiteY37" fmla="*/ 851214 h 1236663"/>
                  <a:gd name="connsiteX38" fmla="*/ 836534 w 1363857"/>
                  <a:gd name="connsiteY38" fmla="*/ 868325 h 1236663"/>
                  <a:gd name="connsiteX39" fmla="*/ 920116 w 1363857"/>
                  <a:gd name="connsiteY39" fmla="*/ 825548 h 1236663"/>
                  <a:gd name="connsiteX40" fmla="*/ 937261 w 1363857"/>
                  <a:gd name="connsiteY40" fmla="*/ 811288 h 1236663"/>
                  <a:gd name="connsiteX41" fmla="*/ 942976 w 1363857"/>
                  <a:gd name="connsiteY41" fmla="*/ 806298 h 1236663"/>
                  <a:gd name="connsiteX42" fmla="*/ 965836 w 1363857"/>
                  <a:gd name="connsiteY42" fmla="*/ 782057 h 1236663"/>
                  <a:gd name="connsiteX43" fmla="*/ 971551 w 1363857"/>
                  <a:gd name="connsiteY43" fmla="*/ 774214 h 1236663"/>
                  <a:gd name="connsiteX44" fmla="*/ 971551 w 1363857"/>
                  <a:gd name="connsiteY44" fmla="*/ 452668 h 1236663"/>
                  <a:gd name="connsiteX45" fmla="*/ 950119 w 1363857"/>
                  <a:gd name="connsiteY45" fmla="*/ 427002 h 1236663"/>
                  <a:gd name="connsiteX46" fmla="*/ 937261 w 1363857"/>
                  <a:gd name="connsiteY46" fmla="*/ 415594 h 1236663"/>
                  <a:gd name="connsiteX47" fmla="*/ 737549 w 1363857"/>
                  <a:gd name="connsiteY47" fmla="*/ 345813 h 1236663"/>
                  <a:gd name="connsiteX48" fmla="*/ 736320 w 1363857"/>
                  <a:gd name="connsiteY48" fmla="*/ 306806 h 1236663"/>
                  <a:gd name="connsiteX49" fmla="*/ 936985 w 1363857"/>
                  <a:gd name="connsiteY49" fmla="*/ 364993 h 1236663"/>
                  <a:gd name="connsiteX50" fmla="*/ 971284 w 1363857"/>
                  <a:gd name="connsiteY50" fmla="*/ 393578 h 1236663"/>
                  <a:gd name="connsiteX51" fmla="*/ 977715 w 1363857"/>
                  <a:gd name="connsiteY51" fmla="*/ 400010 h 1236663"/>
                  <a:gd name="connsiteX52" fmla="*/ 1005582 w 1363857"/>
                  <a:gd name="connsiteY52" fmla="*/ 791631 h 1236663"/>
                  <a:gd name="connsiteX53" fmla="*/ 1078466 w 1363857"/>
                  <a:gd name="connsiteY53" fmla="*/ 866668 h 1236663"/>
                  <a:gd name="connsiteX54" fmla="*/ 1079895 w 1363857"/>
                  <a:gd name="connsiteY54" fmla="*/ 868812 h 1236663"/>
                  <a:gd name="connsiteX55" fmla="*/ 1079895 w 1363857"/>
                  <a:gd name="connsiteY55" fmla="*/ 876673 h 1236663"/>
                  <a:gd name="connsiteX56" fmla="*/ 1054886 w 1363857"/>
                  <a:gd name="connsiteY56" fmla="*/ 900256 h 1236663"/>
                  <a:gd name="connsiteX57" fmla="*/ 1052742 w 1363857"/>
                  <a:gd name="connsiteY57" fmla="*/ 901685 h 1236663"/>
                  <a:gd name="connsiteX58" fmla="*/ 1021302 w 1363857"/>
                  <a:gd name="connsiteY58" fmla="*/ 931700 h 1236663"/>
                  <a:gd name="connsiteX59" fmla="*/ 1012013 w 1363857"/>
                  <a:gd name="connsiteY59" fmla="*/ 940990 h 1236663"/>
                  <a:gd name="connsiteX60" fmla="*/ 1000580 w 1363857"/>
                  <a:gd name="connsiteY60" fmla="*/ 940990 h 1236663"/>
                  <a:gd name="connsiteX61" fmla="*/ 991291 w 1363857"/>
                  <a:gd name="connsiteY61" fmla="*/ 931700 h 1236663"/>
                  <a:gd name="connsiteX62" fmla="*/ 961280 w 1363857"/>
                  <a:gd name="connsiteY62" fmla="*/ 900256 h 1236663"/>
                  <a:gd name="connsiteX63" fmla="*/ 929125 w 1363857"/>
                  <a:gd name="connsiteY63" fmla="*/ 867382 h 1236663"/>
                  <a:gd name="connsiteX64" fmla="*/ 928411 w 1363857"/>
                  <a:gd name="connsiteY64" fmla="*/ 866668 h 1236663"/>
                  <a:gd name="connsiteX65" fmla="*/ 924838 w 1363857"/>
                  <a:gd name="connsiteY65" fmla="*/ 868812 h 1236663"/>
                  <a:gd name="connsiteX66" fmla="*/ 861958 w 1363857"/>
                  <a:gd name="connsiteY66" fmla="*/ 900256 h 1236663"/>
                  <a:gd name="connsiteX67" fmla="*/ 649023 w 1363857"/>
                  <a:gd name="connsiteY67" fmla="*/ 900256 h 1236663"/>
                  <a:gd name="connsiteX68" fmla="*/ 586857 w 1363857"/>
                  <a:gd name="connsiteY68" fmla="*/ 868812 h 1236663"/>
                  <a:gd name="connsiteX69" fmla="*/ 534695 w 1363857"/>
                  <a:gd name="connsiteY69" fmla="*/ 825934 h 1236663"/>
                  <a:gd name="connsiteX70" fmla="*/ 463240 w 1363857"/>
                  <a:gd name="connsiteY70" fmla="*/ 523642 h 1236663"/>
                  <a:gd name="connsiteX71" fmla="*/ 543270 w 1363857"/>
                  <a:gd name="connsiteY71" fmla="*/ 391435 h 1236663"/>
                  <a:gd name="connsiteX72" fmla="*/ 666886 w 1363857"/>
                  <a:gd name="connsiteY72" fmla="*/ 319256 h 1236663"/>
                  <a:gd name="connsiteX73" fmla="*/ 736320 w 1363857"/>
                  <a:gd name="connsiteY73" fmla="*/ 306806 h 1236663"/>
                  <a:gd name="connsiteX74" fmla="*/ 15703 w 1363857"/>
                  <a:gd name="connsiteY74" fmla="*/ 0 h 1236663"/>
                  <a:gd name="connsiteX75" fmla="*/ 1287635 w 1363857"/>
                  <a:gd name="connsiteY75" fmla="*/ 0 h 1236663"/>
                  <a:gd name="connsiteX76" fmla="*/ 1303338 w 1363857"/>
                  <a:gd name="connsiteY76" fmla="*/ 15695 h 1236663"/>
                  <a:gd name="connsiteX77" fmla="*/ 1303338 w 1363857"/>
                  <a:gd name="connsiteY77" fmla="*/ 914580 h 1236663"/>
                  <a:gd name="connsiteX78" fmla="*/ 1287635 w 1363857"/>
                  <a:gd name="connsiteY78" fmla="*/ 930275 h 1236663"/>
                  <a:gd name="connsiteX79" fmla="*/ 1218400 w 1363857"/>
                  <a:gd name="connsiteY79" fmla="*/ 930275 h 1236663"/>
                  <a:gd name="connsiteX80" fmla="*/ 1188422 w 1363857"/>
                  <a:gd name="connsiteY80" fmla="*/ 898885 h 1236663"/>
                  <a:gd name="connsiteX81" fmla="*/ 1271932 w 1363857"/>
                  <a:gd name="connsiteY81" fmla="*/ 898885 h 1236663"/>
                  <a:gd name="connsiteX82" fmla="*/ 1271932 w 1363857"/>
                  <a:gd name="connsiteY82" fmla="*/ 31390 h 1236663"/>
                  <a:gd name="connsiteX83" fmla="*/ 31405 w 1363857"/>
                  <a:gd name="connsiteY83" fmla="*/ 31390 h 1236663"/>
                  <a:gd name="connsiteX84" fmla="*/ 31405 w 1363857"/>
                  <a:gd name="connsiteY84" fmla="*/ 898885 h 1236663"/>
                  <a:gd name="connsiteX85" fmla="*/ 578865 w 1363857"/>
                  <a:gd name="connsiteY85" fmla="*/ 898885 h 1236663"/>
                  <a:gd name="connsiteX86" fmla="*/ 644531 w 1363857"/>
                  <a:gd name="connsiteY86" fmla="*/ 930275 h 1236663"/>
                  <a:gd name="connsiteX87" fmla="*/ 15703 w 1363857"/>
                  <a:gd name="connsiteY87" fmla="*/ 930275 h 1236663"/>
                  <a:gd name="connsiteX88" fmla="*/ 0 w 1363857"/>
                  <a:gd name="connsiteY88" fmla="*/ 914580 h 1236663"/>
                  <a:gd name="connsiteX89" fmla="*/ 0 w 1363857"/>
                  <a:gd name="connsiteY89" fmla="*/ 15695 h 1236663"/>
                  <a:gd name="connsiteX90" fmla="*/ 15703 w 1363857"/>
                  <a:gd name="connsiteY90" fmla="*/ 0 h 123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63857" h="1236663">
                    <a:moveTo>
                      <a:pt x="1122942" y="922338"/>
                    </a:moveTo>
                    <a:cubicBezTo>
                      <a:pt x="1122942" y="922338"/>
                      <a:pt x="1122942" y="922338"/>
                      <a:pt x="1112236" y="931620"/>
                    </a:cubicBezTo>
                    <a:cubicBezTo>
                      <a:pt x="1112236" y="931620"/>
                      <a:pt x="1112236" y="931620"/>
                      <a:pt x="1057276" y="985168"/>
                    </a:cubicBezTo>
                    <a:cubicBezTo>
                      <a:pt x="1267122" y="1204359"/>
                      <a:pt x="1267122" y="1204359"/>
                      <a:pt x="1267122" y="1204359"/>
                    </a:cubicBezTo>
                    <a:cubicBezTo>
                      <a:pt x="1267835" y="1205073"/>
                      <a:pt x="1271404" y="1206501"/>
                      <a:pt x="1279256" y="1204359"/>
                    </a:cubicBezTo>
                    <a:cubicBezTo>
                      <a:pt x="1289248" y="1201503"/>
                      <a:pt x="1299955" y="1194364"/>
                      <a:pt x="1309947" y="1184368"/>
                    </a:cubicBezTo>
                    <a:cubicBezTo>
                      <a:pt x="1319940" y="1175086"/>
                      <a:pt x="1327791" y="1164376"/>
                      <a:pt x="1330646" y="1154381"/>
                    </a:cubicBezTo>
                    <a:cubicBezTo>
                      <a:pt x="1333501" y="1146527"/>
                      <a:pt x="1332787" y="1142243"/>
                      <a:pt x="1332074" y="1141529"/>
                    </a:cubicBezTo>
                    <a:cubicBezTo>
                      <a:pt x="1196459" y="1000162"/>
                      <a:pt x="1147924" y="949469"/>
                      <a:pt x="1131507" y="931620"/>
                    </a:cubicBezTo>
                    <a:cubicBezTo>
                      <a:pt x="1122942" y="922338"/>
                      <a:pt x="1122942" y="922338"/>
                      <a:pt x="1122942" y="922338"/>
                    </a:cubicBezTo>
                    <a:close/>
                    <a:moveTo>
                      <a:pt x="924966" y="906463"/>
                    </a:moveTo>
                    <a:cubicBezTo>
                      <a:pt x="924966" y="906463"/>
                      <a:pt x="924966" y="906463"/>
                      <a:pt x="949326" y="930276"/>
                    </a:cubicBezTo>
                    <a:cubicBezTo>
                      <a:pt x="949326" y="930276"/>
                      <a:pt x="949326" y="930276"/>
                      <a:pt x="868363" y="930276"/>
                    </a:cubicBezTo>
                    <a:cubicBezTo>
                      <a:pt x="887708" y="923973"/>
                      <a:pt x="907054" y="915568"/>
                      <a:pt x="924966" y="906463"/>
                    </a:cubicBezTo>
                    <a:close/>
                    <a:moveTo>
                      <a:pt x="1124399" y="884238"/>
                    </a:moveTo>
                    <a:cubicBezTo>
                      <a:pt x="1127954" y="884952"/>
                      <a:pt x="1131509" y="886378"/>
                      <a:pt x="1134353" y="889232"/>
                    </a:cubicBezTo>
                    <a:cubicBezTo>
                      <a:pt x="1137908" y="893512"/>
                      <a:pt x="1141463" y="897080"/>
                      <a:pt x="1145017" y="900647"/>
                    </a:cubicBezTo>
                    <a:cubicBezTo>
                      <a:pt x="1155682" y="912061"/>
                      <a:pt x="1165636" y="922762"/>
                      <a:pt x="1174878" y="932037"/>
                    </a:cubicBezTo>
                    <a:cubicBezTo>
                      <a:pt x="1354042" y="1120377"/>
                      <a:pt x="1354042" y="1120377"/>
                      <a:pt x="1354042" y="1120377"/>
                    </a:cubicBezTo>
                    <a:cubicBezTo>
                      <a:pt x="1363995" y="1130365"/>
                      <a:pt x="1366839" y="1146773"/>
                      <a:pt x="1360441" y="1164609"/>
                    </a:cubicBezTo>
                    <a:cubicBezTo>
                      <a:pt x="1355464" y="1179590"/>
                      <a:pt x="1345510" y="1194572"/>
                      <a:pt x="1332002" y="1207413"/>
                    </a:cubicBezTo>
                    <a:cubicBezTo>
                      <a:pt x="1318493" y="1220255"/>
                      <a:pt x="1302852" y="1230242"/>
                      <a:pt x="1287922" y="1234523"/>
                    </a:cubicBezTo>
                    <a:cubicBezTo>
                      <a:pt x="1282234" y="1235950"/>
                      <a:pt x="1276546" y="1236663"/>
                      <a:pt x="1270859" y="1236663"/>
                    </a:cubicBezTo>
                    <a:cubicBezTo>
                      <a:pt x="1260905" y="1236663"/>
                      <a:pt x="1250952" y="1233096"/>
                      <a:pt x="1244553" y="1225962"/>
                    </a:cubicBezTo>
                    <a:cubicBezTo>
                      <a:pt x="1024864" y="996244"/>
                      <a:pt x="1024864" y="996244"/>
                      <a:pt x="1024864" y="996244"/>
                    </a:cubicBezTo>
                    <a:cubicBezTo>
                      <a:pt x="1019176" y="989823"/>
                      <a:pt x="1019176" y="979835"/>
                      <a:pt x="1025575" y="974128"/>
                    </a:cubicBezTo>
                    <a:cubicBezTo>
                      <a:pt x="1042638" y="957006"/>
                      <a:pt x="1056858" y="943451"/>
                      <a:pt x="1068233" y="932037"/>
                    </a:cubicBezTo>
                    <a:cubicBezTo>
                      <a:pt x="1071077" y="929896"/>
                      <a:pt x="1073210" y="927043"/>
                      <a:pt x="1076054" y="924903"/>
                    </a:cubicBezTo>
                    <a:cubicBezTo>
                      <a:pt x="1087429" y="914201"/>
                      <a:pt x="1095250" y="906354"/>
                      <a:pt x="1100227" y="900647"/>
                    </a:cubicBezTo>
                    <a:cubicBezTo>
                      <a:pt x="1101648" y="899933"/>
                      <a:pt x="1103070" y="898506"/>
                      <a:pt x="1103781" y="897793"/>
                    </a:cubicBezTo>
                    <a:cubicBezTo>
                      <a:pt x="1113024" y="889232"/>
                      <a:pt x="1113024" y="889232"/>
                      <a:pt x="1113024" y="889232"/>
                    </a:cubicBezTo>
                    <a:cubicBezTo>
                      <a:pt x="1115868" y="886378"/>
                      <a:pt x="1120134" y="884238"/>
                      <a:pt x="1124399" y="884238"/>
                    </a:cubicBezTo>
                    <a:close/>
                    <a:moveTo>
                      <a:pt x="737549" y="345813"/>
                    </a:moveTo>
                    <a:cubicBezTo>
                      <a:pt x="713751" y="347417"/>
                      <a:pt x="690087" y="352141"/>
                      <a:pt x="667227" y="359983"/>
                    </a:cubicBezTo>
                    <a:cubicBezTo>
                      <a:pt x="632223" y="372817"/>
                      <a:pt x="598647" y="392780"/>
                      <a:pt x="570072" y="419872"/>
                    </a:cubicBezTo>
                    <a:cubicBezTo>
                      <a:pt x="539354" y="449817"/>
                      <a:pt x="517208" y="485465"/>
                      <a:pt x="503635" y="523965"/>
                    </a:cubicBezTo>
                    <a:cubicBezTo>
                      <a:pt x="471488" y="616650"/>
                      <a:pt x="490776" y="723594"/>
                      <a:pt x="562928" y="799168"/>
                    </a:cubicBezTo>
                    <a:cubicBezTo>
                      <a:pt x="584359" y="821270"/>
                      <a:pt x="608648" y="838381"/>
                      <a:pt x="634366" y="851214"/>
                    </a:cubicBezTo>
                    <a:cubicBezTo>
                      <a:pt x="696516" y="883297"/>
                      <a:pt x="770097" y="889001"/>
                      <a:pt x="836534" y="868325"/>
                    </a:cubicBezTo>
                    <a:cubicBezTo>
                      <a:pt x="865823" y="859770"/>
                      <a:pt x="894398" y="844798"/>
                      <a:pt x="920116" y="825548"/>
                    </a:cubicBezTo>
                    <a:cubicBezTo>
                      <a:pt x="926545" y="821270"/>
                      <a:pt x="932260" y="816279"/>
                      <a:pt x="937261" y="811288"/>
                    </a:cubicBezTo>
                    <a:cubicBezTo>
                      <a:pt x="939404" y="809149"/>
                      <a:pt x="940833" y="807723"/>
                      <a:pt x="942976" y="806298"/>
                    </a:cubicBezTo>
                    <a:cubicBezTo>
                      <a:pt x="950834" y="798455"/>
                      <a:pt x="958692" y="790612"/>
                      <a:pt x="965836" y="782057"/>
                    </a:cubicBezTo>
                    <a:cubicBezTo>
                      <a:pt x="967264" y="779205"/>
                      <a:pt x="969408" y="777066"/>
                      <a:pt x="971551" y="774214"/>
                    </a:cubicBezTo>
                    <a:cubicBezTo>
                      <a:pt x="1042274" y="680103"/>
                      <a:pt x="1042988" y="548205"/>
                      <a:pt x="971551" y="452668"/>
                    </a:cubicBezTo>
                    <a:cubicBezTo>
                      <a:pt x="964407" y="443400"/>
                      <a:pt x="957263" y="435557"/>
                      <a:pt x="950119" y="427002"/>
                    </a:cubicBezTo>
                    <a:cubicBezTo>
                      <a:pt x="945833" y="423437"/>
                      <a:pt x="941547" y="419159"/>
                      <a:pt x="937261" y="415594"/>
                    </a:cubicBezTo>
                    <a:cubicBezTo>
                      <a:pt x="881540" y="364261"/>
                      <a:pt x="808941" y="341001"/>
                      <a:pt x="737549" y="345813"/>
                    </a:cubicBezTo>
                    <a:close/>
                    <a:moveTo>
                      <a:pt x="736320" y="306806"/>
                    </a:moveTo>
                    <a:cubicBezTo>
                      <a:pt x="806625" y="302284"/>
                      <a:pt x="878035" y="321579"/>
                      <a:pt x="936985" y="364993"/>
                    </a:cubicBezTo>
                    <a:cubicBezTo>
                      <a:pt x="949133" y="373569"/>
                      <a:pt x="960566" y="383574"/>
                      <a:pt x="971284" y="393578"/>
                    </a:cubicBezTo>
                    <a:cubicBezTo>
                      <a:pt x="973427" y="395722"/>
                      <a:pt x="975571" y="397866"/>
                      <a:pt x="977715" y="400010"/>
                    </a:cubicBezTo>
                    <a:cubicBezTo>
                      <a:pt x="1082039" y="507920"/>
                      <a:pt x="1090613" y="673716"/>
                      <a:pt x="1005582" y="791631"/>
                    </a:cubicBezTo>
                    <a:cubicBezTo>
                      <a:pt x="1078466" y="866668"/>
                      <a:pt x="1078466" y="866668"/>
                      <a:pt x="1078466" y="866668"/>
                    </a:cubicBezTo>
                    <a:cubicBezTo>
                      <a:pt x="1079180" y="867382"/>
                      <a:pt x="1079895" y="868097"/>
                      <a:pt x="1079895" y="868812"/>
                    </a:cubicBezTo>
                    <a:cubicBezTo>
                      <a:pt x="1081324" y="871670"/>
                      <a:pt x="1081324" y="874529"/>
                      <a:pt x="1079895" y="876673"/>
                    </a:cubicBezTo>
                    <a:cubicBezTo>
                      <a:pt x="1079895" y="876673"/>
                      <a:pt x="1079895" y="876673"/>
                      <a:pt x="1054886" y="900256"/>
                    </a:cubicBezTo>
                    <a:cubicBezTo>
                      <a:pt x="1054886" y="900256"/>
                      <a:pt x="1054886" y="900256"/>
                      <a:pt x="1052742" y="901685"/>
                    </a:cubicBezTo>
                    <a:cubicBezTo>
                      <a:pt x="1037022" y="917407"/>
                      <a:pt x="1027018" y="926697"/>
                      <a:pt x="1021302" y="931700"/>
                    </a:cubicBezTo>
                    <a:cubicBezTo>
                      <a:pt x="1012013" y="940990"/>
                      <a:pt x="1012013" y="940990"/>
                      <a:pt x="1012013" y="940990"/>
                    </a:cubicBezTo>
                    <a:cubicBezTo>
                      <a:pt x="1009155" y="944563"/>
                      <a:pt x="1003438" y="944563"/>
                      <a:pt x="1000580" y="940990"/>
                    </a:cubicBezTo>
                    <a:cubicBezTo>
                      <a:pt x="997007" y="938131"/>
                      <a:pt x="994149" y="934558"/>
                      <a:pt x="991291" y="931700"/>
                    </a:cubicBezTo>
                    <a:cubicBezTo>
                      <a:pt x="979144" y="919551"/>
                      <a:pt x="969140" y="908831"/>
                      <a:pt x="961280" y="900256"/>
                    </a:cubicBezTo>
                    <a:cubicBezTo>
                      <a:pt x="937700" y="875958"/>
                      <a:pt x="930555" y="869526"/>
                      <a:pt x="929125" y="867382"/>
                    </a:cubicBezTo>
                    <a:cubicBezTo>
                      <a:pt x="928411" y="866668"/>
                      <a:pt x="928411" y="866668"/>
                      <a:pt x="928411" y="866668"/>
                    </a:cubicBezTo>
                    <a:cubicBezTo>
                      <a:pt x="926982" y="867382"/>
                      <a:pt x="925553" y="868097"/>
                      <a:pt x="924838" y="868812"/>
                    </a:cubicBezTo>
                    <a:cubicBezTo>
                      <a:pt x="904831" y="881675"/>
                      <a:pt x="883394" y="892395"/>
                      <a:pt x="861958" y="900256"/>
                    </a:cubicBezTo>
                    <a:cubicBezTo>
                      <a:pt x="793361" y="925983"/>
                      <a:pt x="717619" y="925983"/>
                      <a:pt x="649023" y="900256"/>
                    </a:cubicBezTo>
                    <a:cubicBezTo>
                      <a:pt x="627586" y="892395"/>
                      <a:pt x="606864" y="882390"/>
                      <a:pt x="586857" y="868812"/>
                    </a:cubicBezTo>
                    <a:cubicBezTo>
                      <a:pt x="568279" y="856663"/>
                      <a:pt x="551130" y="842370"/>
                      <a:pt x="534695" y="825934"/>
                    </a:cubicBezTo>
                    <a:cubicBezTo>
                      <a:pt x="456095" y="743036"/>
                      <a:pt x="431800" y="626550"/>
                      <a:pt x="463240" y="523642"/>
                    </a:cubicBezTo>
                    <a:cubicBezTo>
                      <a:pt x="477531" y="475047"/>
                      <a:pt x="504684" y="429310"/>
                      <a:pt x="543270" y="391435"/>
                    </a:cubicBezTo>
                    <a:cubicBezTo>
                      <a:pt x="579712" y="357132"/>
                      <a:pt x="622584" y="332834"/>
                      <a:pt x="666886" y="319256"/>
                    </a:cubicBezTo>
                    <a:cubicBezTo>
                      <a:pt x="689573" y="312467"/>
                      <a:pt x="712885" y="308313"/>
                      <a:pt x="736320" y="306806"/>
                    </a:cubicBezTo>
                    <a:close/>
                    <a:moveTo>
                      <a:pt x="15703" y="0"/>
                    </a:moveTo>
                    <a:cubicBezTo>
                      <a:pt x="15703" y="0"/>
                      <a:pt x="15703" y="0"/>
                      <a:pt x="1287635" y="0"/>
                    </a:cubicBezTo>
                    <a:cubicBezTo>
                      <a:pt x="1296201" y="0"/>
                      <a:pt x="1303338" y="6420"/>
                      <a:pt x="1303338" y="15695"/>
                    </a:cubicBezTo>
                    <a:cubicBezTo>
                      <a:pt x="1303338" y="15695"/>
                      <a:pt x="1303338" y="15695"/>
                      <a:pt x="1303338" y="914580"/>
                    </a:cubicBezTo>
                    <a:cubicBezTo>
                      <a:pt x="1303338" y="923855"/>
                      <a:pt x="1296201" y="930275"/>
                      <a:pt x="1287635" y="930275"/>
                    </a:cubicBezTo>
                    <a:cubicBezTo>
                      <a:pt x="1287635" y="930275"/>
                      <a:pt x="1287635" y="930275"/>
                      <a:pt x="1218400" y="930275"/>
                    </a:cubicBezTo>
                    <a:cubicBezTo>
                      <a:pt x="1218400" y="930275"/>
                      <a:pt x="1218400" y="930275"/>
                      <a:pt x="1188422" y="898885"/>
                    </a:cubicBezTo>
                    <a:cubicBezTo>
                      <a:pt x="1271932" y="898885"/>
                      <a:pt x="1271932" y="898885"/>
                      <a:pt x="1271932" y="898885"/>
                    </a:cubicBezTo>
                    <a:cubicBezTo>
                      <a:pt x="1271932" y="31390"/>
                      <a:pt x="1271932" y="31390"/>
                      <a:pt x="1271932" y="31390"/>
                    </a:cubicBezTo>
                    <a:cubicBezTo>
                      <a:pt x="31405" y="31390"/>
                      <a:pt x="31405" y="31390"/>
                      <a:pt x="31405" y="31390"/>
                    </a:cubicBezTo>
                    <a:cubicBezTo>
                      <a:pt x="31405" y="898885"/>
                      <a:pt x="31405" y="898885"/>
                      <a:pt x="31405" y="898885"/>
                    </a:cubicBezTo>
                    <a:cubicBezTo>
                      <a:pt x="250532" y="898885"/>
                      <a:pt x="430401" y="898885"/>
                      <a:pt x="578865" y="898885"/>
                    </a:cubicBezTo>
                    <a:cubicBezTo>
                      <a:pt x="599564" y="911727"/>
                      <a:pt x="621691" y="922428"/>
                      <a:pt x="644531" y="930275"/>
                    </a:cubicBezTo>
                    <a:cubicBezTo>
                      <a:pt x="644531" y="930275"/>
                      <a:pt x="644531" y="930275"/>
                      <a:pt x="15703" y="930275"/>
                    </a:cubicBezTo>
                    <a:cubicBezTo>
                      <a:pt x="7137" y="930275"/>
                      <a:pt x="0" y="923855"/>
                      <a:pt x="0" y="914580"/>
                    </a:cubicBezTo>
                    <a:cubicBezTo>
                      <a:pt x="0" y="914580"/>
                      <a:pt x="0" y="914580"/>
                      <a:pt x="0" y="15695"/>
                    </a:cubicBezTo>
                    <a:cubicBezTo>
                      <a:pt x="0" y="6420"/>
                      <a:pt x="7137"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2463065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73C385-5370-4BDB-901D-3379606CCF01}"/>
              </a:ext>
            </a:extLst>
          </p:cNvPr>
          <p:cNvGraphicFramePr>
            <a:graphicFrameLocks noChangeAspect="1"/>
          </p:cNvGraphicFramePr>
          <p:nvPr>
            <p:custDataLst>
              <p:tags r:id="rId1"/>
            </p:custDataLst>
            <p:extLst>
              <p:ext uri="{D42A27DB-BD31-4B8C-83A1-F6EECF244321}">
                <p14:modId xmlns:p14="http://schemas.microsoft.com/office/powerpoint/2010/main" val="3244031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7D73C385-5370-4BDB-901D-3379606CC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0AE63-70D5-4B95-92C4-B451B3ADE406}"/>
              </a:ext>
            </a:extLst>
          </p:cNvPr>
          <p:cNvSpPr>
            <a:spLocks noGrp="1"/>
          </p:cNvSpPr>
          <p:nvPr>
            <p:ph type="title"/>
          </p:nvPr>
        </p:nvSpPr>
        <p:spPr>
          <a:xfrm>
            <a:off x="161924" y="284266"/>
            <a:ext cx="9394341" cy="648000"/>
          </a:xfrm>
        </p:spPr>
        <p:txBody>
          <a:bodyPr vert="horz"/>
          <a:lstStyle/>
          <a:p>
            <a:r>
              <a:rPr lang="ja-JP" altLang="en-US" dirty="0"/>
              <a:t>支援の実施スケジュールのイメージ </a:t>
            </a:r>
            <a:r>
              <a:rPr lang="en-US" altLang="ja-JP" sz="2400" dirty="0"/>
              <a:t>(</a:t>
            </a:r>
            <a:r>
              <a:rPr lang="ja-JP" altLang="en-US" sz="2400" dirty="0"/>
              <a:t>パターン</a:t>
            </a:r>
            <a:r>
              <a:rPr lang="en-US" altLang="ja-JP" sz="2400" dirty="0"/>
              <a:t>A-1, A-2</a:t>
            </a:r>
            <a:r>
              <a:rPr lang="ja-JP" altLang="en-US" sz="2400" dirty="0"/>
              <a:t>の場合</a:t>
            </a:r>
            <a:r>
              <a:rPr lang="en-US" altLang="ja-JP" sz="2400" dirty="0"/>
              <a:t>)</a:t>
            </a:r>
            <a:endParaRPr kumimoji="1" lang="en-US" dirty="0"/>
          </a:p>
        </p:txBody>
      </p:sp>
      <p:sp>
        <p:nvSpPr>
          <p:cNvPr id="3" name="Content Placeholder 2">
            <a:extLst>
              <a:ext uri="{FF2B5EF4-FFF2-40B4-BE49-F238E27FC236}">
                <a16:creationId xmlns:a16="http://schemas.microsoft.com/office/drawing/2014/main" id="{A09734AF-CB1E-44A4-B8F2-F1A5F58BCB85}"/>
              </a:ext>
            </a:extLst>
          </p:cNvPr>
          <p:cNvSpPr>
            <a:spLocks noGrp="1"/>
          </p:cNvSpPr>
          <p:nvPr>
            <p:ph sz="quarter" idx="13"/>
          </p:nvPr>
        </p:nvSpPr>
        <p:spPr>
          <a:xfrm>
            <a:off x="161925" y="1110920"/>
            <a:ext cx="10367963" cy="634941"/>
          </a:xfrm>
        </p:spPr>
        <p:txBody>
          <a:bodyPr/>
          <a:lstStyle/>
          <a:p>
            <a:r>
              <a:rPr lang="ja-JP" altLang="en-US" dirty="0"/>
              <a:t>約</a:t>
            </a:r>
            <a:r>
              <a:rPr lang="en-US" altLang="ja-JP" dirty="0"/>
              <a:t>6</a:t>
            </a:r>
            <a:r>
              <a:rPr lang="ja-JP" altLang="en-US" dirty="0"/>
              <a:t>カ月間にわたり対象企業の</a:t>
            </a:r>
            <a:r>
              <a:rPr lang="en-US" altLang="ja-JP" dirty="0"/>
              <a:t>CFP</a:t>
            </a:r>
            <a:r>
              <a:rPr lang="ja-JP" altLang="en-US" dirty="0"/>
              <a:t>の算定・表示・活用案の策定を支援</a:t>
            </a:r>
          </a:p>
        </p:txBody>
      </p:sp>
      <p:sp>
        <p:nvSpPr>
          <p:cNvPr id="42" name="ee4pFootnotes">
            <a:extLst>
              <a:ext uri="{FF2B5EF4-FFF2-40B4-BE49-F238E27FC236}">
                <a16:creationId xmlns:a16="http://schemas.microsoft.com/office/drawing/2014/main" id="{4B5FC54E-85C3-420E-986F-486B378681A7}"/>
              </a:ext>
            </a:extLst>
          </p:cNvPr>
          <p:cNvSpPr>
            <a:spLocks noChangeArrowheads="1"/>
          </p:cNvSpPr>
          <p:nvPr/>
        </p:nvSpPr>
        <p:spPr bwMode="auto">
          <a:xfrm>
            <a:off x="319253" y="7232569"/>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solidFill>
                  <a:srgbClr val="7F7F7F">
                    <a:lumMod val="100000"/>
                  </a:srgbClr>
                </a:solidFill>
                <a:latin typeface="Trebuchet MS" panose="020B0603020202020204" pitchFamily="34" charset="0"/>
                <a:cs typeface="Arial" pitchFamily="34" charset="0"/>
              </a:rPr>
              <a:t>注</a:t>
            </a:r>
            <a:r>
              <a:rPr lang="en-US" sz="1000" dirty="0">
                <a:solidFill>
                  <a:srgbClr val="7F7F7F">
                    <a:lumMod val="100000"/>
                  </a:srgbClr>
                </a:solidFill>
                <a:latin typeface="Trebuchet MS" panose="020B0603020202020204" pitchFamily="34" charset="0"/>
                <a:cs typeface="Arial" pitchFamily="34" charset="0"/>
              </a:rPr>
              <a:t>: </a:t>
            </a:r>
            <a:r>
              <a:rPr lang="ja-JP" altLang="en-US" sz="1000" dirty="0">
                <a:solidFill>
                  <a:srgbClr val="7F7F7F">
                    <a:lumMod val="100000"/>
                  </a:srgbClr>
                </a:solidFill>
                <a:latin typeface="Trebuchet MS" panose="020B0603020202020204" pitchFamily="34" charset="0"/>
                <a:cs typeface="Arial" pitchFamily="34" charset="0"/>
              </a:rPr>
              <a:t>実際の進め方は、各社の検討状況や支援ニーズに応じて決定</a:t>
            </a:r>
            <a:endParaRPr lang="en-US" sz="1000" dirty="0">
              <a:solidFill>
                <a:srgbClr val="7F7F7F">
                  <a:lumMod val="100000"/>
                </a:srgbClr>
              </a:solidFill>
              <a:latin typeface="Trebuchet MS" panose="020B0603020202020204" pitchFamily="34" charset="0"/>
              <a:cs typeface="Arial" pitchFamily="34" charset="0"/>
            </a:endParaRPr>
          </a:p>
        </p:txBody>
      </p:sp>
      <p:sp>
        <p:nvSpPr>
          <p:cNvPr id="88" name="ee4pHeader1">
            <a:extLst>
              <a:ext uri="{FF2B5EF4-FFF2-40B4-BE49-F238E27FC236}">
                <a16:creationId xmlns:a16="http://schemas.microsoft.com/office/drawing/2014/main" id="{73862EC4-8122-477F-8439-0BEEFC0CC394}"/>
              </a:ext>
            </a:extLst>
          </p:cNvPr>
          <p:cNvSpPr txBox="1"/>
          <p:nvPr/>
        </p:nvSpPr>
        <p:spPr>
          <a:xfrm>
            <a:off x="2790446" y="2102346"/>
            <a:ext cx="633253"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7</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89" name="直線コネクタ 188">
            <a:extLst>
              <a:ext uri="{FF2B5EF4-FFF2-40B4-BE49-F238E27FC236}">
                <a16:creationId xmlns:a16="http://schemas.microsoft.com/office/drawing/2014/main" id="{35B54B77-3B2E-4363-B417-ED3B2220C154}"/>
              </a:ext>
            </a:extLst>
          </p:cNvPr>
          <p:cNvCxnSpPr/>
          <p:nvPr/>
        </p:nvCxnSpPr>
        <p:spPr>
          <a:xfrm>
            <a:off x="2790446" y="2417777"/>
            <a:ext cx="633253"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CC01FD89-8D38-4D21-A73E-6D5549696CBA}"/>
              </a:ext>
            </a:extLst>
          </p:cNvPr>
          <p:cNvGrpSpPr/>
          <p:nvPr/>
        </p:nvGrpSpPr>
        <p:grpSpPr>
          <a:xfrm>
            <a:off x="3560217" y="2102346"/>
            <a:ext cx="955732" cy="315431"/>
            <a:chOff x="3670748" y="2216646"/>
            <a:chExt cx="1052354" cy="315431"/>
          </a:xfrm>
        </p:grpSpPr>
        <p:sp>
          <p:nvSpPr>
            <p:cNvPr id="105" name="ee4pHeader1">
              <a:extLst>
                <a:ext uri="{FF2B5EF4-FFF2-40B4-BE49-F238E27FC236}">
                  <a16:creationId xmlns:a16="http://schemas.microsoft.com/office/drawing/2014/main" id="{87DAED40-6DB9-4228-A363-96EF0E0D0014}"/>
                </a:ext>
              </a:extLst>
            </p:cNvPr>
            <p:cNvSpPr txBox="1"/>
            <p:nvPr/>
          </p:nvSpPr>
          <p:spPr>
            <a:xfrm>
              <a:off x="3670748"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8</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06" name="直線コネクタ 190">
              <a:extLst>
                <a:ext uri="{FF2B5EF4-FFF2-40B4-BE49-F238E27FC236}">
                  <a16:creationId xmlns:a16="http://schemas.microsoft.com/office/drawing/2014/main" id="{FEE2B7EA-2C38-4FE0-B423-604D55C6142B}"/>
                </a:ext>
              </a:extLst>
            </p:cNvPr>
            <p:cNvCxnSpPr/>
            <p:nvPr/>
          </p:nvCxnSpPr>
          <p:spPr>
            <a:xfrm>
              <a:off x="3670748"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F3FED0CC-8D06-4DF4-80FF-065028D50779}"/>
              </a:ext>
            </a:extLst>
          </p:cNvPr>
          <p:cNvGrpSpPr/>
          <p:nvPr/>
        </p:nvGrpSpPr>
        <p:grpSpPr>
          <a:xfrm>
            <a:off x="4667096" y="2102346"/>
            <a:ext cx="955732" cy="315431"/>
            <a:chOff x="4783485" y="2216646"/>
            <a:chExt cx="1052354" cy="315431"/>
          </a:xfrm>
        </p:grpSpPr>
        <p:sp>
          <p:nvSpPr>
            <p:cNvPr id="108" name="ee4pHeader1">
              <a:extLst>
                <a:ext uri="{FF2B5EF4-FFF2-40B4-BE49-F238E27FC236}">
                  <a16:creationId xmlns:a16="http://schemas.microsoft.com/office/drawing/2014/main" id="{B0277B6C-5F29-4910-8331-0E6CE849189D}"/>
                </a:ext>
              </a:extLst>
            </p:cNvPr>
            <p:cNvSpPr txBox="1"/>
            <p:nvPr/>
          </p:nvSpPr>
          <p:spPr>
            <a:xfrm>
              <a:off x="4783485"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9</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1" name="直線コネクタ 192">
              <a:extLst>
                <a:ext uri="{FF2B5EF4-FFF2-40B4-BE49-F238E27FC236}">
                  <a16:creationId xmlns:a16="http://schemas.microsoft.com/office/drawing/2014/main" id="{D23975A5-E1EF-4394-8C54-4E84C7D31CB2}"/>
                </a:ext>
              </a:extLst>
            </p:cNvPr>
            <p:cNvCxnSpPr/>
            <p:nvPr/>
          </p:nvCxnSpPr>
          <p:spPr>
            <a:xfrm>
              <a:off x="4783485"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ABDDEACF-0233-438E-B209-156026C06021}"/>
              </a:ext>
            </a:extLst>
          </p:cNvPr>
          <p:cNvGrpSpPr/>
          <p:nvPr/>
        </p:nvGrpSpPr>
        <p:grpSpPr>
          <a:xfrm>
            <a:off x="5773975" y="2102346"/>
            <a:ext cx="955740" cy="315431"/>
            <a:chOff x="5896215" y="2216646"/>
            <a:chExt cx="1052361" cy="315431"/>
          </a:xfrm>
        </p:grpSpPr>
        <p:sp>
          <p:nvSpPr>
            <p:cNvPr id="114" name="ee4pHeader1">
              <a:extLst>
                <a:ext uri="{FF2B5EF4-FFF2-40B4-BE49-F238E27FC236}">
                  <a16:creationId xmlns:a16="http://schemas.microsoft.com/office/drawing/2014/main" id="{0E5E5600-59ED-409A-85E1-3BEF5DB8594B}"/>
                </a:ext>
              </a:extLst>
            </p:cNvPr>
            <p:cNvSpPr txBox="1"/>
            <p:nvPr/>
          </p:nvSpPr>
          <p:spPr>
            <a:xfrm>
              <a:off x="5896215"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0</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5" name="直線コネクタ 194">
              <a:extLst>
                <a:ext uri="{FF2B5EF4-FFF2-40B4-BE49-F238E27FC236}">
                  <a16:creationId xmlns:a16="http://schemas.microsoft.com/office/drawing/2014/main" id="{C31FAD38-6B6E-453E-84EA-8F15BB0F04FC}"/>
                </a:ext>
              </a:extLst>
            </p:cNvPr>
            <p:cNvCxnSpPr/>
            <p:nvPr/>
          </p:nvCxnSpPr>
          <p:spPr>
            <a:xfrm>
              <a:off x="5896222"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FB3E4673-B25A-4206-806E-01B486844B22}"/>
              </a:ext>
            </a:extLst>
          </p:cNvPr>
          <p:cNvGrpSpPr/>
          <p:nvPr/>
        </p:nvGrpSpPr>
        <p:grpSpPr>
          <a:xfrm>
            <a:off x="6880862" y="2102346"/>
            <a:ext cx="955732" cy="315431"/>
            <a:chOff x="7008960" y="2216646"/>
            <a:chExt cx="1052354" cy="315431"/>
          </a:xfrm>
        </p:grpSpPr>
        <p:sp>
          <p:nvSpPr>
            <p:cNvPr id="117" name="ee4pHeader1">
              <a:extLst>
                <a:ext uri="{FF2B5EF4-FFF2-40B4-BE49-F238E27FC236}">
                  <a16:creationId xmlns:a16="http://schemas.microsoft.com/office/drawing/2014/main" id="{2D57DAF1-CFCD-42F2-95AC-C685EC8C1D7C}"/>
                </a:ext>
              </a:extLst>
            </p:cNvPr>
            <p:cNvSpPr txBox="1"/>
            <p:nvPr/>
          </p:nvSpPr>
          <p:spPr>
            <a:xfrm>
              <a:off x="7008960"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1</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8" name="直線コネクタ 196">
              <a:extLst>
                <a:ext uri="{FF2B5EF4-FFF2-40B4-BE49-F238E27FC236}">
                  <a16:creationId xmlns:a16="http://schemas.microsoft.com/office/drawing/2014/main" id="{D29E5446-A83C-49DA-B98D-8F744F8E120B}"/>
                </a:ext>
              </a:extLst>
            </p:cNvPr>
            <p:cNvCxnSpPr/>
            <p:nvPr/>
          </p:nvCxnSpPr>
          <p:spPr>
            <a:xfrm>
              <a:off x="7008960"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2234BEB2-4923-4217-8677-321B343302B1}"/>
              </a:ext>
            </a:extLst>
          </p:cNvPr>
          <p:cNvGrpSpPr/>
          <p:nvPr/>
        </p:nvGrpSpPr>
        <p:grpSpPr>
          <a:xfrm>
            <a:off x="7987741" y="2102346"/>
            <a:ext cx="996997" cy="315431"/>
            <a:chOff x="8076270" y="2216646"/>
            <a:chExt cx="1097788" cy="315431"/>
          </a:xfrm>
        </p:grpSpPr>
        <p:sp>
          <p:nvSpPr>
            <p:cNvPr id="120" name="ee4pHeader1">
              <a:extLst>
                <a:ext uri="{FF2B5EF4-FFF2-40B4-BE49-F238E27FC236}">
                  <a16:creationId xmlns:a16="http://schemas.microsoft.com/office/drawing/2014/main" id="{64617E96-7282-47A4-9489-12806D3FCB40}"/>
                </a:ext>
              </a:extLst>
            </p:cNvPr>
            <p:cNvSpPr txBox="1"/>
            <p:nvPr/>
          </p:nvSpPr>
          <p:spPr>
            <a:xfrm>
              <a:off x="8121703" y="2216646"/>
              <a:ext cx="1052355"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2</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21" name="直線コネクタ 192">
              <a:extLst>
                <a:ext uri="{FF2B5EF4-FFF2-40B4-BE49-F238E27FC236}">
                  <a16:creationId xmlns:a16="http://schemas.microsoft.com/office/drawing/2014/main" id="{7707C43E-32D1-4345-8C0B-A48E24FAF861}"/>
                </a:ext>
              </a:extLst>
            </p:cNvPr>
            <p:cNvCxnSpPr/>
            <p:nvPr/>
          </p:nvCxnSpPr>
          <p:spPr>
            <a:xfrm>
              <a:off x="8076270" y="2532077"/>
              <a:ext cx="1052355"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22" name="Parallelogram 121">
            <a:extLst>
              <a:ext uri="{FF2B5EF4-FFF2-40B4-BE49-F238E27FC236}">
                <a16:creationId xmlns:a16="http://schemas.microsoft.com/office/drawing/2014/main" id="{47D6B9B9-35E2-4B88-B18F-37FF9FDB9E59}"/>
              </a:ext>
            </a:extLst>
          </p:cNvPr>
          <p:cNvSpPr/>
          <p:nvPr/>
        </p:nvSpPr>
        <p:spPr>
          <a:xfrm>
            <a:off x="3457648" y="2508602"/>
            <a:ext cx="6705600" cy="425881"/>
          </a:xfrm>
          <a:prstGeom prst="parallelogram">
            <a:avLst/>
          </a:prstGeom>
          <a:solidFill>
            <a:schemeClr val="tx2"/>
          </a:solidFill>
          <a:ln w="9049"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400" dirty="0">
                <a:solidFill>
                  <a:srgbClr val="FFFFFF"/>
                </a:solidFill>
                <a:latin typeface="Trebuchet MS" panose="020B0603020202020204" pitchFamily="34" charset="0"/>
                <a:ea typeface="Meiryo UI" panose="020B0604030504040204" pitchFamily="50" charset="-128"/>
              </a:rPr>
              <a:t>II. </a:t>
            </a:r>
            <a:r>
              <a:rPr kumimoji="1" lang="ja-JP" altLang="en-US" sz="1400" dirty="0">
                <a:solidFill>
                  <a:srgbClr val="FFFFFF"/>
                </a:solidFill>
                <a:latin typeface="Trebuchet MS" panose="020B0603020202020204" pitchFamily="34" charset="0"/>
                <a:ea typeface="Meiryo UI" panose="020B0604030504040204" pitchFamily="50" charset="-128"/>
              </a:rPr>
              <a:t>モデル事業の実施</a:t>
            </a:r>
            <a:endParaRPr kumimoji="1" lang="en-US" sz="1400" dirty="0">
              <a:solidFill>
                <a:srgbClr val="FFFFFF"/>
              </a:solidFill>
              <a:latin typeface="Trebuchet MS" panose="020B0603020202020204" pitchFamily="34" charset="0"/>
              <a:ea typeface="Meiryo UI" panose="020B0604030504040204" pitchFamily="50" charset="-128"/>
            </a:endParaRPr>
          </a:p>
        </p:txBody>
      </p:sp>
      <p:sp>
        <p:nvSpPr>
          <p:cNvPr id="126" name="Parallelogram 125">
            <a:extLst>
              <a:ext uri="{FF2B5EF4-FFF2-40B4-BE49-F238E27FC236}">
                <a16:creationId xmlns:a16="http://schemas.microsoft.com/office/drawing/2014/main" id="{7140C268-566A-4EF4-9E9F-70D73881D9B4}"/>
              </a:ext>
            </a:extLst>
          </p:cNvPr>
          <p:cNvSpPr/>
          <p:nvPr/>
        </p:nvSpPr>
        <p:spPr>
          <a:xfrm>
            <a:off x="2781299" y="2508602"/>
            <a:ext cx="737583" cy="425881"/>
          </a:xfrm>
          <a:prstGeom prst="parallelogram">
            <a:avLst/>
          </a:prstGeom>
          <a:solidFill>
            <a:schemeClr val="tx2"/>
          </a:solidFill>
          <a:ln w="9049"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kumimoji="1" lang="en-US" altLang="ja-JP" sz="1400" dirty="0">
                <a:solidFill>
                  <a:srgbClr val="FFFFFF"/>
                </a:solidFill>
                <a:latin typeface="Trebuchet MS" panose="020B0603020202020204" pitchFamily="34" charset="0"/>
                <a:ea typeface="Meiryo UI" panose="020B0604030504040204" pitchFamily="50" charset="-128"/>
              </a:rPr>
              <a:t>I. </a:t>
            </a:r>
            <a:r>
              <a:rPr kumimoji="1" lang="ja-JP" altLang="en-US" sz="1400" dirty="0">
                <a:solidFill>
                  <a:srgbClr val="FFFFFF"/>
                </a:solidFill>
                <a:latin typeface="Trebuchet MS" panose="020B0603020202020204" pitchFamily="34" charset="0"/>
                <a:ea typeface="Meiryo UI" panose="020B0604030504040204" pitchFamily="50" charset="-128"/>
              </a:rPr>
              <a:t>立ち</a:t>
            </a:r>
            <a:endParaRPr kumimoji="1" lang="en-US" altLang="ja-JP" sz="1400" dirty="0">
              <a:solidFill>
                <a:srgbClr val="FFFFFF"/>
              </a:solidFill>
              <a:latin typeface="Trebuchet MS" panose="020B0603020202020204" pitchFamily="34" charset="0"/>
              <a:ea typeface="Meiryo UI" panose="020B0604030504040204" pitchFamily="50" charset="-128"/>
            </a:endParaRPr>
          </a:p>
          <a:p>
            <a:pPr algn="ctr"/>
            <a:r>
              <a:rPr kumimoji="1" lang="ja-JP" altLang="en-US" sz="1400" dirty="0">
                <a:solidFill>
                  <a:srgbClr val="FFFFFF"/>
                </a:solidFill>
                <a:latin typeface="Trebuchet MS" panose="020B0603020202020204" pitchFamily="34" charset="0"/>
                <a:ea typeface="Meiryo UI" panose="020B0604030504040204" pitchFamily="50" charset="-128"/>
              </a:rPr>
              <a:t>上げ</a:t>
            </a:r>
            <a:endParaRPr kumimoji="1" lang="en-US" sz="1400" dirty="0">
              <a:solidFill>
                <a:srgbClr val="FFFFFF"/>
              </a:solidFill>
              <a:latin typeface="Trebuchet MS" panose="020B0603020202020204" pitchFamily="34" charset="0"/>
              <a:ea typeface="Meiryo UI" panose="020B0604030504040204" pitchFamily="50" charset="-128"/>
            </a:endParaRPr>
          </a:p>
        </p:txBody>
      </p:sp>
      <p:cxnSp>
        <p:nvCxnSpPr>
          <p:cNvPr id="128" name="直線コネクタ 234">
            <a:extLst>
              <a:ext uri="{FF2B5EF4-FFF2-40B4-BE49-F238E27FC236}">
                <a16:creationId xmlns:a16="http://schemas.microsoft.com/office/drawing/2014/main" id="{3A29B68C-126D-4041-8F99-28CD27DC4D83}"/>
              </a:ext>
            </a:extLst>
          </p:cNvPr>
          <p:cNvCxnSpPr>
            <a:cxnSpLocks/>
          </p:cNvCxnSpPr>
          <p:nvPr/>
        </p:nvCxnSpPr>
        <p:spPr>
          <a:xfrm>
            <a:off x="7964541"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9" name="直線コネクタ 228">
            <a:extLst>
              <a:ext uri="{FF2B5EF4-FFF2-40B4-BE49-F238E27FC236}">
                <a16:creationId xmlns:a16="http://schemas.microsoft.com/office/drawing/2014/main" id="{B6BD284E-FBCA-44EF-A813-7D8D100E0C9E}"/>
              </a:ext>
            </a:extLst>
          </p:cNvPr>
          <p:cNvCxnSpPr>
            <a:cxnSpLocks/>
          </p:cNvCxnSpPr>
          <p:nvPr/>
        </p:nvCxnSpPr>
        <p:spPr>
          <a:xfrm>
            <a:off x="3516017" y="3400666"/>
            <a:ext cx="0" cy="3699566"/>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2" name="直線コネクタ 228">
            <a:extLst>
              <a:ext uri="{FF2B5EF4-FFF2-40B4-BE49-F238E27FC236}">
                <a16:creationId xmlns:a16="http://schemas.microsoft.com/office/drawing/2014/main" id="{F3E333CA-A526-4A63-A19F-1AA66F93644A}"/>
              </a:ext>
            </a:extLst>
          </p:cNvPr>
          <p:cNvCxnSpPr/>
          <p:nvPr/>
        </p:nvCxnSpPr>
        <p:spPr>
          <a:xfrm flipH="1">
            <a:off x="3509349" y="3400667"/>
            <a:ext cx="0" cy="3699567"/>
          </a:xfrm>
          <a:prstGeom prst="line">
            <a:avLst/>
          </a:prstGeom>
          <a:ln w="15081"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直線コネクタ 229">
            <a:extLst>
              <a:ext uri="{FF2B5EF4-FFF2-40B4-BE49-F238E27FC236}">
                <a16:creationId xmlns:a16="http://schemas.microsoft.com/office/drawing/2014/main" id="{E372CBC0-D772-495E-B5CE-32FA8F87ED8E}"/>
              </a:ext>
            </a:extLst>
          </p:cNvPr>
          <p:cNvCxnSpPr/>
          <p:nvPr/>
        </p:nvCxnSpPr>
        <p:spPr>
          <a:xfrm flipH="1">
            <a:off x="4628148"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5" name="直線コネクタ 233">
            <a:extLst>
              <a:ext uri="{FF2B5EF4-FFF2-40B4-BE49-F238E27FC236}">
                <a16:creationId xmlns:a16="http://schemas.microsoft.com/office/drawing/2014/main" id="{A4C3D03C-8E32-45CB-BE17-EAEFBE0F5617}"/>
              </a:ext>
            </a:extLst>
          </p:cNvPr>
          <p:cNvCxnSpPr>
            <a:cxnSpLocks/>
          </p:cNvCxnSpPr>
          <p:nvPr/>
        </p:nvCxnSpPr>
        <p:spPr>
          <a:xfrm>
            <a:off x="5740279"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6" name="直線コネクタ 234">
            <a:extLst>
              <a:ext uri="{FF2B5EF4-FFF2-40B4-BE49-F238E27FC236}">
                <a16:creationId xmlns:a16="http://schemas.microsoft.com/office/drawing/2014/main" id="{8FF5A5F1-D9A3-40B9-9A40-57C4AC59B8A2}"/>
              </a:ext>
            </a:extLst>
          </p:cNvPr>
          <p:cNvCxnSpPr>
            <a:cxnSpLocks/>
          </p:cNvCxnSpPr>
          <p:nvPr/>
        </p:nvCxnSpPr>
        <p:spPr>
          <a:xfrm>
            <a:off x="6852410"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直線コネクタ 233">
            <a:extLst>
              <a:ext uri="{FF2B5EF4-FFF2-40B4-BE49-F238E27FC236}">
                <a16:creationId xmlns:a16="http://schemas.microsoft.com/office/drawing/2014/main" id="{4669E0C7-4B30-46BC-A745-F876A5D923E6}"/>
              </a:ext>
            </a:extLst>
          </p:cNvPr>
          <p:cNvCxnSpPr>
            <a:cxnSpLocks/>
          </p:cNvCxnSpPr>
          <p:nvPr/>
        </p:nvCxnSpPr>
        <p:spPr>
          <a:xfrm>
            <a:off x="9076672"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6" name="直線コネクタ 229">
            <a:extLst>
              <a:ext uri="{FF2B5EF4-FFF2-40B4-BE49-F238E27FC236}">
                <a16:creationId xmlns:a16="http://schemas.microsoft.com/office/drawing/2014/main" id="{BB46A32E-A7A6-4DE9-B5FB-8C2C0766BDD7}"/>
              </a:ext>
            </a:extLst>
          </p:cNvPr>
          <p:cNvCxnSpPr/>
          <p:nvPr/>
        </p:nvCxnSpPr>
        <p:spPr>
          <a:xfrm flipH="1">
            <a:off x="2842144"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BB3C1222-B8E1-4830-B33C-02E9F8F7AE93}"/>
              </a:ext>
            </a:extLst>
          </p:cNvPr>
          <p:cNvGrpSpPr/>
          <p:nvPr/>
        </p:nvGrpSpPr>
        <p:grpSpPr>
          <a:xfrm>
            <a:off x="9161436" y="1797788"/>
            <a:ext cx="1001814" cy="315431"/>
            <a:chOff x="9535608" y="2231394"/>
            <a:chExt cx="907729" cy="315431"/>
          </a:xfrm>
        </p:grpSpPr>
        <p:sp>
          <p:nvSpPr>
            <p:cNvPr id="149" name="ee4pHeader1">
              <a:extLst>
                <a:ext uri="{FF2B5EF4-FFF2-40B4-BE49-F238E27FC236}">
                  <a16:creationId xmlns:a16="http://schemas.microsoft.com/office/drawing/2014/main" id="{8898643C-7A0B-4823-9B15-4E1116677A44}"/>
                </a:ext>
              </a:extLst>
            </p:cNvPr>
            <p:cNvSpPr txBox="1"/>
            <p:nvPr/>
          </p:nvSpPr>
          <p:spPr>
            <a:xfrm>
              <a:off x="9535608" y="2231394"/>
              <a:ext cx="907729"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2023</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年</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50" name="直線コネクタ 194">
              <a:extLst>
                <a:ext uri="{FF2B5EF4-FFF2-40B4-BE49-F238E27FC236}">
                  <a16:creationId xmlns:a16="http://schemas.microsoft.com/office/drawing/2014/main" id="{63A2E0B1-0081-413A-9A38-ACCE97EAFF10}"/>
                </a:ext>
              </a:extLst>
            </p:cNvPr>
            <p:cNvCxnSpPr/>
            <p:nvPr/>
          </p:nvCxnSpPr>
          <p:spPr>
            <a:xfrm>
              <a:off x="9535608" y="2546825"/>
              <a:ext cx="907729"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870512BC-18F8-4604-961C-C7CCDC698615}"/>
              </a:ext>
            </a:extLst>
          </p:cNvPr>
          <p:cNvGrpSpPr/>
          <p:nvPr/>
        </p:nvGrpSpPr>
        <p:grpSpPr>
          <a:xfrm>
            <a:off x="2790446" y="1797788"/>
            <a:ext cx="6213886" cy="315431"/>
            <a:chOff x="9535608" y="2231394"/>
            <a:chExt cx="907729" cy="315431"/>
          </a:xfrm>
        </p:grpSpPr>
        <p:sp>
          <p:nvSpPr>
            <p:cNvPr id="152" name="ee4pHeader1">
              <a:extLst>
                <a:ext uri="{FF2B5EF4-FFF2-40B4-BE49-F238E27FC236}">
                  <a16:creationId xmlns:a16="http://schemas.microsoft.com/office/drawing/2014/main" id="{E673F908-41BE-4D32-8E3A-098214335B6F}"/>
                </a:ext>
              </a:extLst>
            </p:cNvPr>
            <p:cNvSpPr txBox="1"/>
            <p:nvPr/>
          </p:nvSpPr>
          <p:spPr>
            <a:xfrm>
              <a:off x="9535608" y="2231394"/>
              <a:ext cx="907729"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2022</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年</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53" name="直線コネクタ 194">
              <a:extLst>
                <a:ext uri="{FF2B5EF4-FFF2-40B4-BE49-F238E27FC236}">
                  <a16:creationId xmlns:a16="http://schemas.microsoft.com/office/drawing/2014/main" id="{43C3A86B-48A5-4543-9A4D-D3F265CF4222}"/>
                </a:ext>
              </a:extLst>
            </p:cNvPr>
            <p:cNvCxnSpPr/>
            <p:nvPr/>
          </p:nvCxnSpPr>
          <p:spPr>
            <a:xfrm>
              <a:off x="9535608" y="2546825"/>
              <a:ext cx="907729"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54" name="Straight Connector 153">
            <a:extLst>
              <a:ext uri="{FF2B5EF4-FFF2-40B4-BE49-F238E27FC236}">
                <a16:creationId xmlns:a16="http://schemas.microsoft.com/office/drawing/2014/main" id="{2A43A174-3A08-4A38-A325-CD3918BDF8BB}"/>
              </a:ext>
            </a:extLst>
          </p:cNvPr>
          <p:cNvCxnSpPr/>
          <p:nvPr/>
        </p:nvCxnSpPr>
        <p:spPr>
          <a:xfrm>
            <a:off x="-42458" y="4868605"/>
            <a:ext cx="10205707"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E0EC7F4D-2B7A-4319-9108-D3226081F070}"/>
              </a:ext>
            </a:extLst>
          </p:cNvPr>
          <p:cNvCxnSpPr/>
          <p:nvPr/>
        </p:nvCxnSpPr>
        <p:spPr>
          <a:xfrm>
            <a:off x="-42458" y="5996887"/>
            <a:ext cx="10205707"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6" name="Text Placeholder 2">
            <a:extLst>
              <a:ext uri="{FF2B5EF4-FFF2-40B4-BE49-F238E27FC236}">
                <a16:creationId xmlns:a16="http://schemas.microsoft.com/office/drawing/2014/main" id="{39D58FB3-C20F-444A-B956-2FFF554CA5AD}"/>
              </a:ext>
            </a:extLst>
          </p:cNvPr>
          <p:cNvSpPr txBox="1">
            <a:spLocks/>
          </p:cNvSpPr>
          <p:nvPr/>
        </p:nvSpPr>
        <p:spPr>
          <a:xfrm>
            <a:off x="650873" y="3577668"/>
            <a:ext cx="1972493" cy="993741"/>
          </a:xfrm>
          <a:prstGeom prst="rect">
            <a:avLst/>
          </a:prstGeom>
          <a:noFill/>
          <a:extLst>
            <a:ext uri="{909E8E84-426E-40DD-AFC4-6F175D3DCCD1}">
              <a14:hiddenFill xmlns:a14="http://schemas.microsoft.com/office/drawing/2010/main">
                <a:solidFill>
                  <a:srgbClr val="F2F2F2"/>
                </a:solidFill>
              </a14:hiddenFill>
            </a:ext>
          </a:extLst>
        </p:spPr>
        <p:txBody>
          <a:bodyPr vert="horz" lIns="68400" tIns="68400" rIns="68400" bIns="6840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製品の</a:t>
            </a:r>
            <a:r>
              <a:rPr lang="en-US" altLang="ja-JP" sz="1600" dirty="0">
                <a:solidFill>
                  <a:srgbClr val="295E7E"/>
                </a:solidFill>
                <a:latin typeface="Trebuchet MS" panose="020B0603020202020204" pitchFamily="34" charset="0"/>
                <a:ea typeface="Meiryo UI" panose="020B0604030504040204" pitchFamily="50" charset="-128"/>
              </a:rPr>
              <a:t>CFP</a:t>
            </a:r>
            <a:r>
              <a:rPr lang="ja-JP" altLang="en-US" sz="1600" dirty="0">
                <a:solidFill>
                  <a:srgbClr val="295E7E"/>
                </a:solidFill>
                <a:latin typeface="Trebuchet MS" panose="020B0603020202020204" pitchFamily="34" charset="0"/>
                <a:ea typeface="Meiryo UI" panose="020B0604030504040204" pitchFamily="50" charset="-128"/>
              </a:rPr>
              <a:t>算定</a:t>
            </a:r>
            <a:endParaRPr lang="en-US" altLang="ja-JP" sz="1600" dirty="0">
              <a:solidFill>
                <a:srgbClr val="295E7E"/>
              </a:solidFill>
              <a:latin typeface="Trebuchet MS" panose="020B0603020202020204" pitchFamily="34" charset="0"/>
              <a:ea typeface="Meiryo UI" panose="020B0604030504040204" pitchFamily="50" charset="-128"/>
            </a:endParaRPr>
          </a:p>
        </p:txBody>
      </p:sp>
      <p:sp>
        <p:nvSpPr>
          <p:cNvPr id="157" name="Text Placeholder 2">
            <a:extLst>
              <a:ext uri="{FF2B5EF4-FFF2-40B4-BE49-F238E27FC236}">
                <a16:creationId xmlns:a16="http://schemas.microsoft.com/office/drawing/2014/main" id="{7EA28C22-93CF-480B-91A9-5E31ED45D74B}"/>
              </a:ext>
            </a:extLst>
          </p:cNvPr>
          <p:cNvSpPr txBox="1">
            <a:spLocks/>
          </p:cNvSpPr>
          <p:nvPr/>
        </p:nvSpPr>
        <p:spPr>
          <a:xfrm>
            <a:off x="650873" y="4927675"/>
            <a:ext cx="1972493" cy="993741"/>
          </a:xfrm>
          <a:prstGeom prst="rect">
            <a:avLst/>
          </a:prstGeom>
          <a:noFill/>
          <a:extLst>
            <a:ext uri="{909E8E84-426E-40DD-AFC4-6F175D3DCCD1}">
              <a14:hiddenFill xmlns:a14="http://schemas.microsoft.com/office/drawing/2010/main">
                <a:solidFill>
                  <a:srgbClr val="F2F2F2"/>
                </a:solidFill>
              </a14:hiddenFill>
            </a:ext>
          </a:extLst>
        </p:spPr>
        <p:txBody>
          <a:bodyPr vert="horz" lIns="68400" tIns="68400" rIns="68400" bIns="6840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削減目標、</a:t>
            </a:r>
            <a:endParaRPr lang="en-US" altLang="ja-JP" sz="1600" dirty="0">
              <a:solidFill>
                <a:srgbClr val="295E7E"/>
              </a:solidFill>
              <a:latin typeface="Trebuchet MS" panose="020B0603020202020204" pitchFamily="34" charset="0"/>
              <a:ea typeface="Meiryo UI" panose="020B0604030504040204" pitchFamily="50" charset="-128"/>
            </a:endParaRPr>
          </a:p>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削減計画の検討</a:t>
            </a:r>
            <a:endParaRPr lang="en-US" altLang="ja-JP" sz="1600" dirty="0">
              <a:solidFill>
                <a:srgbClr val="295E7E"/>
              </a:solidFill>
              <a:latin typeface="Trebuchet MS" panose="020B0603020202020204" pitchFamily="34" charset="0"/>
              <a:ea typeface="Meiryo UI" panose="020B0604030504040204" pitchFamily="50" charset="-128"/>
            </a:endParaRPr>
          </a:p>
        </p:txBody>
      </p:sp>
      <p:sp>
        <p:nvSpPr>
          <p:cNvPr id="159" name="Arrow: Pentagon 158">
            <a:extLst>
              <a:ext uri="{FF2B5EF4-FFF2-40B4-BE49-F238E27FC236}">
                <a16:creationId xmlns:a16="http://schemas.microsoft.com/office/drawing/2014/main" id="{A0C96F1C-92AB-4075-99C5-D2802B1766B3}"/>
              </a:ext>
            </a:extLst>
          </p:cNvPr>
          <p:cNvSpPr/>
          <p:nvPr/>
        </p:nvSpPr>
        <p:spPr>
          <a:xfrm>
            <a:off x="4305377" y="3805483"/>
            <a:ext cx="1830263"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lang="ja-JP" altLang="en-US" sz="1400" dirty="0">
                <a:solidFill>
                  <a:schemeClr val="tx1"/>
                </a:solidFill>
                <a:latin typeface="Trebuchet MS" panose="020B0603020202020204" pitchFamily="34" charset="0"/>
                <a:ea typeface="Meiryo UI" panose="020B0604030504040204" pitchFamily="50" charset="-128"/>
              </a:rPr>
              <a:t>算定モデル構築</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60" name="Arrow: Pentagon 159">
            <a:extLst>
              <a:ext uri="{FF2B5EF4-FFF2-40B4-BE49-F238E27FC236}">
                <a16:creationId xmlns:a16="http://schemas.microsoft.com/office/drawing/2014/main" id="{9BC2FE1F-4C77-411C-8A5A-5C6949570A84}"/>
              </a:ext>
            </a:extLst>
          </p:cNvPr>
          <p:cNvSpPr/>
          <p:nvPr/>
        </p:nvSpPr>
        <p:spPr>
          <a:xfrm>
            <a:off x="4305377" y="6051689"/>
            <a:ext cx="2722947"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表示方法</a:t>
            </a:r>
            <a:r>
              <a:rPr kumimoji="1" lang="en-US" altLang="ja-JP" sz="1400" dirty="0">
                <a:solidFill>
                  <a:schemeClr val="tx1"/>
                </a:solidFill>
                <a:latin typeface="Trebuchet MS" panose="020B0603020202020204" pitchFamily="34" charset="0"/>
                <a:ea typeface="Meiryo UI" panose="020B0604030504040204" pitchFamily="50" charset="-128"/>
              </a:rPr>
              <a:t>/</a:t>
            </a:r>
            <a:endParaRPr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ja-JP" altLang="en-US" sz="1400" dirty="0">
                <a:solidFill>
                  <a:schemeClr val="tx1"/>
                </a:solidFill>
                <a:latin typeface="Trebuchet MS" panose="020B0603020202020204" pitchFamily="34" charset="0"/>
                <a:ea typeface="Meiryo UI" panose="020B0604030504040204" pitchFamily="50" charset="-128"/>
              </a:rPr>
              <a:t>ビジネスモデルの検討</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161" name="Arrow: Pentagon 160">
            <a:extLst>
              <a:ext uri="{FF2B5EF4-FFF2-40B4-BE49-F238E27FC236}">
                <a16:creationId xmlns:a16="http://schemas.microsoft.com/office/drawing/2014/main" id="{4E2703A4-9FE3-47A9-AAEB-846F336C9FFD}"/>
              </a:ext>
            </a:extLst>
          </p:cNvPr>
          <p:cNvSpPr/>
          <p:nvPr/>
        </p:nvSpPr>
        <p:spPr>
          <a:xfrm>
            <a:off x="6189299" y="3805483"/>
            <a:ext cx="1980509"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データ収集</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62" name="Arrow: Pentagon 161">
            <a:extLst>
              <a:ext uri="{FF2B5EF4-FFF2-40B4-BE49-F238E27FC236}">
                <a16:creationId xmlns:a16="http://schemas.microsoft.com/office/drawing/2014/main" id="{0CBDAA38-87CA-41D5-952B-5718DB5A41D3}"/>
              </a:ext>
            </a:extLst>
          </p:cNvPr>
          <p:cNvSpPr/>
          <p:nvPr/>
        </p:nvSpPr>
        <p:spPr>
          <a:xfrm>
            <a:off x="7075726" y="4935876"/>
            <a:ext cx="1094082"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lang="ja-JP" altLang="en-US" sz="1400" dirty="0">
                <a:solidFill>
                  <a:schemeClr val="tx1"/>
                </a:solidFill>
                <a:latin typeface="Trebuchet MS" panose="020B0603020202020204" pitchFamily="34" charset="0"/>
                <a:ea typeface="Meiryo UI" panose="020B0604030504040204" pitchFamily="50" charset="-128"/>
              </a:rPr>
              <a:t>削減目標</a:t>
            </a:r>
            <a:endParaRPr lang="en-US" altLang="ja-JP" sz="1400" dirty="0">
              <a:solidFill>
                <a:schemeClr val="tx1"/>
              </a:solidFill>
              <a:latin typeface="Trebuchet MS" panose="020B0603020202020204" pitchFamily="34" charset="0"/>
              <a:ea typeface="Meiryo UI" panose="020B0604030504040204" pitchFamily="50" charset="-128"/>
            </a:endParaRPr>
          </a:p>
          <a:p>
            <a:pPr algn="ctr"/>
            <a:r>
              <a:rPr lang="ja-JP" altLang="en-US" sz="1400" dirty="0">
                <a:solidFill>
                  <a:schemeClr val="tx1"/>
                </a:solidFill>
                <a:latin typeface="Trebuchet MS" panose="020B0603020202020204" pitchFamily="34" charset="0"/>
                <a:ea typeface="Meiryo UI" panose="020B0604030504040204" pitchFamily="50" charset="-128"/>
              </a:rPr>
              <a:t>設定</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163" name="Arrow: Pentagon 162">
            <a:extLst>
              <a:ext uri="{FF2B5EF4-FFF2-40B4-BE49-F238E27FC236}">
                <a16:creationId xmlns:a16="http://schemas.microsoft.com/office/drawing/2014/main" id="{8B89DB9E-67B8-4235-9A7E-7FED39FEB149}"/>
              </a:ext>
            </a:extLst>
          </p:cNvPr>
          <p:cNvSpPr/>
          <p:nvPr/>
        </p:nvSpPr>
        <p:spPr>
          <a:xfrm>
            <a:off x="8209484" y="4935876"/>
            <a:ext cx="1898538"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行動計画策定</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164" name="Arrow: Pentagon 163">
            <a:extLst>
              <a:ext uri="{FF2B5EF4-FFF2-40B4-BE49-F238E27FC236}">
                <a16:creationId xmlns:a16="http://schemas.microsoft.com/office/drawing/2014/main" id="{BC3311AD-BE3B-4932-8DAA-FA155FBC57D8}"/>
              </a:ext>
            </a:extLst>
          </p:cNvPr>
          <p:cNvSpPr/>
          <p:nvPr/>
        </p:nvSpPr>
        <p:spPr>
          <a:xfrm>
            <a:off x="2872335" y="3472108"/>
            <a:ext cx="526384" cy="3577591"/>
          </a:xfrm>
          <a:prstGeom prst="homePlate">
            <a:avLst>
              <a:gd name="adj" fmla="val 18199"/>
            </a:avLst>
          </a:prstGeom>
          <a:solidFill>
            <a:srgbClr val="E2E2E2"/>
          </a:solidFill>
          <a:ln w="9525" cap="rnd" cmpd="sng" algn="ctr">
            <a:solidFill>
              <a:srgbClr val="B2B2B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体制</a:t>
            </a:r>
            <a:endParaRPr kumimoji="1"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ja-JP" altLang="en-US" sz="1400" dirty="0">
                <a:solidFill>
                  <a:schemeClr val="tx1"/>
                </a:solidFill>
                <a:latin typeface="Trebuchet MS" panose="020B0603020202020204" pitchFamily="34" charset="0"/>
                <a:ea typeface="Meiryo UI" panose="020B0604030504040204" pitchFamily="50" charset="-128"/>
              </a:rPr>
              <a:t>構築</a:t>
            </a:r>
            <a:endParaRPr kumimoji="1" lang="en-US" sz="1400" dirty="0">
              <a:solidFill>
                <a:schemeClr val="tx1"/>
              </a:solidFill>
              <a:latin typeface="Trebuchet MS" panose="020B0603020202020204" pitchFamily="34" charset="0"/>
              <a:ea typeface="Meiryo UI" panose="020B0604030504040204" pitchFamily="50" charset="-128"/>
            </a:endParaRPr>
          </a:p>
        </p:txBody>
      </p:sp>
      <p:grpSp>
        <p:nvGrpSpPr>
          <p:cNvPr id="165" name="Group 164">
            <a:extLst>
              <a:ext uri="{FF2B5EF4-FFF2-40B4-BE49-F238E27FC236}">
                <a16:creationId xmlns:a16="http://schemas.microsoft.com/office/drawing/2014/main" id="{1D236F18-9F8E-4DBE-A6C6-C5CAE6F4F92F}"/>
              </a:ext>
            </a:extLst>
          </p:cNvPr>
          <p:cNvGrpSpPr/>
          <p:nvPr/>
        </p:nvGrpSpPr>
        <p:grpSpPr>
          <a:xfrm>
            <a:off x="9135885" y="2102346"/>
            <a:ext cx="1052917" cy="315431"/>
            <a:chOff x="9234434" y="2216646"/>
            <a:chExt cx="1052354" cy="315431"/>
          </a:xfrm>
        </p:grpSpPr>
        <p:sp>
          <p:nvSpPr>
            <p:cNvPr id="166" name="ee4pHeader1">
              <a:extLst>
                <a:ext uri="{FF2B5EF4-FFF2-40B4-BE49-F238E27FC236}">
                  <a16:creationId xmlns:a16="http://schemas.microsoft.com/office/drawing/2014/main" id="{22CF8463-8A5B-4FAD-8331-FFD583EC9807}"/>
                </a:ext>
              </a:extLst>
            </p:cNvPr>
            <p:cNvSpPr txBox="1"/>
            <p:nvPr/>
          </p:nvSpPr>
          <p:spPr>
            <a:xfrm>
              <a:off x="9280654" y="2216646"/>
              <a:ext cx="947213"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67" name="直線コネクタ 194">
              <a:extLst>
                <a:ext uri="{FF2B5EF4-FFF2-40B4-BE49-F238E27FC236}">
                  <a16:creationId xmlns:a16="http://schemas.microsoft.com/office/drawing/2014/main" id="{4D43365B-6252-4489-A8F5-5AB46B4B18F9}"/>
                </a:ext>
              </a:extLst>
            </p:cNvPr>
            <p:cNvCxnSpPr/>
            <p:nvPr/>
          </p:nvCxnSpPr>
          <p:spPr>
            <a:xfrm>
              <a:off x="9234434"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9" name="Rectangle 168">
            <a:extLst>
              <a:ext uri="{FF2B5EF4-FFF2-40B4-BE49-F238E27FC236}">
                <a16:creationId xmlns:a16="http://schemas.microsoft.com/office/drawing/2014/main" id="{CB8B26BA-8D62-45AE-B516-7E5CB102637C}"/>
              </a:ext>
            </a:extLst>
          </p:cNvPr>
          <p:cNvSpPr/>
          <p:nvPr/>
        </p:nvSpPr>
        <p:spPr>
          <a:xfrm>
            <a:off x="3605869" y="2971025"/>
            <a:ext cx="1370864"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Kick-off)</a:t>
            </a:r>
          </a:p>
        </p:txBody>
      </p:sp>
      <p:sp>
        <p:nvSpPr>
          <p:cNvPr id="170" name="Rectangle 169">
            <a:extLst>
              <a:ext uri="{FF2B5EF4-FFF2-40B4-BE49-F238E27FC236}">
                <a16:creationId xmlns:a16="http://schemas.microsoft.com/office/drawing/2014/main" id="{BC75CBE4-C124-4D7E-B237-87745989CFBB}"/>
              </a:ext>
            </a:extLst>
          </p:cNvPr>
          <p:cNvSpPr/>
          <p:nvPr/>
        </p:nvSpPr>
        <p:spPr>
          <a:xfrm>
            <a:off x="5884059" y="2971025"/>
            <a:ext cx="1370864"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ビジネスモデル</a:t>
            </a:r>
            <a:r>
              <a:rPr kumimoji="1" lang="en-US" sz="1400" dirty="0">
                <a:solidFill>
                  <a:schemeClr val="tx1"/>
                </a:solidFill>
                <a:latin typeface="Meiryo UI" panose="020B0604030504040204" pitchFamily="50" charset="-128"/>
                <a:ea typeface="Meiryo UI" panose="020B0604030504040204" pitchFamily="50" charset="-128"/>
              </a:rPr>
              <a:t>)</a:t>
            </a:r>
          </a:p>
        </p:txBody>
      </p:sp>
      <p:sp>
        <p:nvSpPr>
          <p:cNvPr id="171" name="Rectangle 170">
            <a:extLst>
              <a:ext uri="{FF2B5EF4-FFF2-40B4-BE49-F238E27FC236}">
                <a16:creationId xmlns:a16="http://schemas.microsoft.com/office/drawing/2014/main" id="{E63894B1-F144-4D61-AD04-CD83F93A51F1}"/>
              </a:ext>
            </a:extLst>
          </p:cNvPr>
          <p:cNvSpPr/>
          <p:nvPr/>
        </p:nvSpPr>
        <p:spPr>
          <a:xfrm>
            <a:off x="8817939" y="2971025"/>
            <a:ext cx="1370864"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最終報告</a:t>
            </a:r>
            <a:r>
              <a:rPr kumimoji="1" lang="en-US" sz="1400" dirty="0">
                <a:solidFill>
                  <a:schemeClr val="tx1"/>
                </a:solidFill>
                <a:latin typeface="Meiryo UI" panose="020B0604030504040204" pitchFamily="50" charset="-128"/>
                <a:ea typeface="Meiryo UI" panose="020B0604030504040204" pitchFamily="50" charset="-128"/>
              </a:rPr>
              <a:t>)</a:t>
            </a:r>
          </a:p>
        </p:txBody>
      </p:sp>
      <p:sp>
        <p:nvSpPr>
          <p:cNvPr id="172" name="Arrow: Pentagon 171">
            <a:extLst>
              <a:ext uri="{FF2B5EF4-FFF2-40B4-BE49-F238E27FC236}">
                <a16:creationId xmlns:a16="http://schemas.microsoft.com/office/drawing/2014/main" id="{9ED8F5EC-BCFD-4EA6-8AC2-19E4D5B25AA2}"/>
              </a:ext>
            </a:extLst>
          </p:cNvPr>
          <p:cNvSpPr/>
          <p:nvPr/>
        </p:nvSpPr>
        <p:spPr>
          <a:xfrm>
            <a:off x="3518884" y="3472108"/>
            <a:ext cx="675863" cy="3577591"/>
          </a:xfrm>
          <a:prstGeom prst="homePlate">
            <a:avLst>
              <a:gd name="adj" fmla="val 18199"/>
            </a:avLst>
          </a:prstGeom>
          <a:solidFill>
            <a:srgbClr val="B3E4D7"/>
          </a:solidFill>
          <a:ln w="9525" cap="rnd" cmpd="sng" algn="ctr">
            <a:solidFill>
              <a:srgbClr val="B2B2B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対象</a:t>
            </a:r>
            <a:br>
              <a:rPr kumimoji="1" lang="en-US" altLang="ja-JP" sz="1400" dirty="0">
                <a:solidFill>
                  <a:schemeClr val="tx1"/>
                </a:solidFill>
                <a:latin typeface="Trebuchet MS" panose="020B0603020202020204" pitchFamily="34" charset="0"/>
                <a:ea typeface="Meiryo UI" panose="020B0604030504040204" pitchFamily="50" charset="-128"/>
              </a:rPr>
            </a:br>
            <a:r>
              <a:rPr kumimoji="1" lang="ja-JP" altLang="en-US" sz="1400" dirty="0">
                <a:solidFill>
                  <a:schemeClr val="tx1"/>
                </a:solidFill>
                <a:latin typeface="Trebuchet MS" panose="020B0603020202020204" pitchFamily="34" charset="0"/>
                <a:ea typeface="Meiryo UI" panose="020B0604030504040204" pitchFamily="50" charset="-128"/>
              </a:rPr>
              <a:t>製品</a:t>
            </a:r>
            <a:endParaRPr kumimoji="1" lang="en-US" altLang="ja-JP" sz="1400" dirty="0">
              <a:solidFill>
                <a:schemeClr val="tx1"/>
              </a:solidFill>
              <a:latin typeface="Trebuchet MS" panose="020B0603020202020204" pitchFamily="34" charset="0"/>
              <a:ea typeface="Meiryo UI" panose="020B0604030504040204" pitchFamily="50" charset="-128"/>
            </a:endParaRPr>
          </a:p>
          <a:p>
            <a:pPr algn="ctr"/>
            <a:r>
              <a:rPr lang="ja-JP" altLang="en-US" sz="1400" dirty="0">
                <a:solidFill>
                  <a:schemeClr val="tx1"/>
                </a:solidFill>
                <a:latin typeface="Trebuchet MS" panose="020B0603020202020204" pitchFamily="34" charset="0"/>
                <a:ea typeface="Meiryo UI" panose="020B0604030504040204" pitchFamily="50" charset="-128"/>
              </a:rPr>
              <a:t>検討</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74" name="Oval 173">
            <a:extLst>
              <a:ext uri="{FF2B5EF4-FFF2-40B4-BE49-F238E27FC236}">
                <a16:creationId xmlns:a16="http://schemas.microsoft.com/office/drawing/2014/main" id="{4B9526B3-5E21-448D-8AB6-CC60E9D287CC}"/>
              </a:ext>
            </a:extLst>
          </p:cNvPr>
          <p:cNvSpPr/>
          <p:nvPr/>
        </p:nvSpPr>
        <p:spPr>
          <a:xfrm>
            <a:off x="352425" y="3600634"/>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1</a:t>
            </a:r>
          </a:p>
        </p:txBody>
      </p:sp>
      <p:sp>
        <p:nvSpPr>
          <p:cNvPr id="175" name="Oval 174">
            <a:extLst>
              <a:ext uri="{FF2B5EF4-FFF2-40B4-BE49-F238E27FC236}">
                <a16:creationId xmlns:a16="http://schemas.microsoft.com/office/drawing/2014/main" id="{6DC28D8D-E73B-48A6-9C2E-2EC4C7DDDF6F}"/>
              </a:ext>
            </a:extLst>
          </p:cNvPr>
          <p:cNvSpPr/>
          <p:nvPr/>
        </p:nvSpPr>
        <p:spPr>
          <a:xfrm>
            <a:off x="352425" y="6125906"/>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dirty="0">
                <a:latin typeface="Trebuchet MS" panose="020B0603020202020204" pitchFamily="34" charset="0"/>
                <a:ea typeface="Meiryo UI" panose="020B0604030504040204" pitchFamily="50" charset="-128"/>
              </a:rPr>
              <a:t>3</a:t>
            </a:r>
          </a:p>
        </p:txBody>
      </p:sp>
      <p:sp>
        <p:nvSpPr>
          <p:cNvPr id="176" name="Oval 175">
            <a:extLst>
              <a:ext uri="{FF2B5EF4-FFF2-40B4-BE49-F238E27FC236}">
                <a16:creationId xmlns:a16="http://schemas.microsoft.com/office/drawing/2014/main" id="{3056B730-1066-4437-95B4-3E5C261620E6}"/>
              </a:ext>
            </a:extLst>
          </p:cNvPr>
          <p:cNvSpPr/>
          <p:nvPr/>
        </p:nvSpPr>
        <p:spPr>
          <a:xfrm>
            <a:off x="352425" y="4991008"/>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2</a:t>
            </a:r>
          </a:p>
        </p:txBody>
      </p:sp>
      <p:cxnSp>
        <p:nvCxnSpPr>
          <p:cNvPr id="76" name="直線コネクタ 233">
            <a:extLst>
              <a:ext uri="{FF2B5EF4-FFF2-40B4-BE49-F238E27FC236}">
                <a16:creationId xmlns:a16="http://schemas.microsoft.com/office/drawing/2014/main" id="{10088D7C-4832-4CC2-9C42-E85AB4589909}"/>
              </a:ext>
            </a:extLst>
          </p:cNvPr>
          <p:cNvCxnSpPr>
            <a:cxnSpLocks/>
          </p:cNvCxnSpPr>
          <p:nvPr/>
        </p:nvCxnSpPr>
        <p:spPr>
          <a:xfrm>
            <a:off x="10188802"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Text Placeholder 2">
            <a:extLst>
              <a:ext uri="{FF2B5EF4-FFF2-40B4-BE49-F238E27FC236}">
                <a16:creationId xmlns:a16="http://schemas.microsoft.com/office/drawing/2014/main" id="{EC31C91F-5BBA-4BCF-A4DB-928647F553C4}"/>
              </a:ext>
            </a:extLst>
          </p:cNvPr>
          <p:cNvSpPr txBox="1">
            <a:spLocks/>
          </p:cNvSpPr>
          <p:nvPr/>
        </p:nvSpPr>
        <p:spPr>
          <a:xfrm>
            <a:off x="650873" y="6055958"/>
            <a:ext cx="2169742" cy="993741"/>
          </a:xfrm>
          <a:prstGeom prst="rect">
            <a:avLst/>
          </a:prstGeom>
          <a:noFill/>
          <a:extLst>
            <a:ext uri="{909E8E84-426E-40DD-AFC4-6F175D3DCCD1}">
              <a14:hiddenFill xmlns:a14="http://schemas.microsoft.com/office/drawing/2010/main">
                <a:solidFill>
                  <a:srgbClr val="F2F2F2"/>
                </a:solidFill>
              </a14:hiddenFill>
            </a:ext>
          </a:extLst>
        </p:spPr>
        <p:txBody>
          <a:bodyPr vert="horz" lIns="68400" tIns="68400" rIns="68400" bIns="6840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消費者への表示</a:t>
            </a:r>
            <a:r>
              <a:rPr lang="en-US" altLang="ja-JP" sz="1600" dirty="0">
                <a:solidFill>
                  <a:srgbClr val="295E7E"/>
                </a:solidFill>
                <a:latin typeface="Trebuchet MS" panose="020B0603020202020204" pitchFamily="34" charset="0"/>
                <a:ea typeface="Meiryo UI" panose="020B0604030504040204" pitchFamily="50" charset="-128"/>
              </a:rPr>
              <a:t> </a:t>
            </a:r>
          </a:p>
          <a:p>
            <a:pPr>
              <a:spcBef>
                <a:spcPct val="0"/>
              </a:spcBef>
            </a:pPr>
            <a:r>
              <a:rPr lang="en-US" altLang="ja-JP" sz="1600" dirty="0">
                <a:solidFill>
                  <a:srgbClr val="295E7E"/>
                </a:solidFill>
                <a:latin typeface="Trebuchet MS" panose="020B0603020202020204" pitchFamily="34" charset="0"/>
                <a:ea typeface="Meiryo UI" panose="020B0604030504040204" pitchFamily="50" charset="-128"/>
              </a:rPr>
              <a:t>(</a:t>
            </a:r>
            <a:r>
              <a:rPr lang="ja-JP" altLang="en-US" sz="1600" dirty="0">
                <a:solidFill>
                  <a:srgbClr val="295E7E"/>
                </a:solidFill>
                <a:latin typeface="Trebuchet MS" panose="020B0603020202020204" pitchFamily="34" charset="0"/>
                <a:ea typeface="Meiryo UI" panose="020B0604030504040204" pitchFamily="50" charset="-128"/>
              </a:rPr>
              <a:t>見える化</a:t>
            </a:r>
            <a:r>
              <a:rPr lang="en-US" altLang="ja-JP" sz="1600" dirty="0">
                <a:solidFill>
                  <a:srgbClr val="295E7E"/>
                </a:solidFill>
                <a:latin typeface="Trebuchet MS" panose="020B0603020202020204" pitchFamily="34" charset="0"/>
                <a:ea typeface="Meiryo UI" panose="020B0604030504040204" pitchFamily="50" charset="-128"/>
              </a:rPr>
              <a:t>)</a:t>
            </a:r>
          </a:p>
          <a:p>
            <a:pPr>
              <a:spcBef>
                <a:spcPct val="0"/>
              </a:spcBef>
            </a:pPr>
            <a:r>
              <a:rPr lang="en-US" altLang="ja-JP" sz="1400" dirty="0">
                <a:solidFill>
                  <a:srgbClr val="295E7E"/>
                </a:solidFill>
                <a:latin typeface="Trebuchet MS" panose="020B0603020202020204" pitchFamily="34" charset="0"/>
                <a:ea typeface="Meiryo UI" panose="020B0604030504040204" pitchFamily="50" charset="-128"/>
              </a:rPr>
              <a:t>※</a:t>
            </a:r>
            <a:r>
              <a:rPr lang="ja-JP" altLang="en-US" sz="1400" dirty="0">
                <a:solidFill>
                  <a:srgbClr val="295E7E"/>
                </a:solidFill>
                <a:latin typeface="Trebuchet MS" panose="020B0603020202020204" pitchFamily="34" charset="0"/>
                <a:ea typeface="Meiryo UI" panose="020B0604030504040204" pitchFamily="50" charset="-128"/>
              </a:rPr>
              <a:t>モデル企業の希望に応じて、ビジネスモデルも検討</a:t>
            </a:r>
            <a:endParaRPr lang="en-US" altLang="ja-JP" sz="1400" dirty="0">
              <a:solidFill>
                <a:srgbClr val="295E7E"/>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4284250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D56C96-F9A2-4019-B8FF-A9B9BF966D83}"/>
              </a:ext>
            </a:extLst>
          </p:cNvPr>
          <p:cNvGraphicFramePr>
            <a:graphicFrameLocks noChangeAspect="1"/>
          </p:cNvGraphicFramePr>
          <p:nvPr>
            <p:custDataLst>
              <p:tags r:id="rId1"/>
            </p:custDataLst>
            <p:extLst>
              <p:ext uri="{D42A27DB-BD31-4B8C-83A1-F6EECF244321}">
                <p14:modId xmlns:p14="http://schemas.microsoft.com/office/powerpoint/2010/main" val="348894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80D56C96-F9A2-4019-B8FF-A9B9BF966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6BB045-B5C5-4F27-94FB-25B6705F8DCB}"/>
              </a:ext>
            </a:extLst>
          </p:cNvPr>
          <p:cNvSpPr>
            <a:spLocks noGrp="1"/>
          </p:cNvSpPr>
          <p:nvPr>
            <p:ph type="title"/>
          </p:nvPr>
        </p:nvSpPr>
        <p:spPr/>
        <p:txBody>
          <a:bodyPr vert="horz"/>
          <a:lstStyle/>
          <a:p>
            <a:r>
              <a:rPr lang="ja-JP" altLang="en-US" dirty="0"/>
              <a:t>モデル事業で取り組む内容 </a:t>
            </a:r>
            <a:r>
              <a:rPr lang="en-US" altLang="ja-JP" dirty="0"/>
              <a:t>(</a:t>
            </a:r>
            <a:r>
              <a:rPr lang="ja-JP" altLang="en-US" dirty="0"/>
              <a:t>パターン</a:t>
            </a:r>
            <a:r>
              <a:rPr lang="en-US" altLang="ja-JP" dirty="0"/>
              <a:t>B</a:t>
            </a:r>
            <a:r>
              <a:rPr lang="ja-JP" altLang="en-US" dirty="0"/>
              <a:t>の場合</a:t>
            </a:r>
            <a:r>
              <a:rPr lang="en-US" altLang="ja-JP" dirty="0"/>
              <a:t>)</a:t>
            </a:r>
            <a:endParaRPr kumimoji="1" lang="en-US" dirty="0"/>
          </a:p>
        </p:txBody>
      </p:sp>
      <p:sp>
        <p:nvSpPr>
          <p:cNvPr id="3" name="Content Placeholder 2">
            <a:extLst>
              <a:ext uri="{FF2B5EF4-FFF2-40B4-BE49-F238E27FC236}">
                <a16:creationId xmlns:a16="http://schemas.microsoft.com/office/drawing/2014/main" id="{AF547F83-8C92-4682-ACDF-9EC27053691C}"/>
              </a:ext>
            </a:extLst>
          </p:cNvPr>
          <p:cNvSpPr>
            <a:spLocks noGrp="1"/>
          </p:cNvSpPr>
          <p:nvPr>
            <p:ph sz="quarter" idx="13"/>
          </p:nvPr>
        </p:nvSpPr>
        <p:spPr>
          <a:xfrm>
            <a:off x="161925" y="1110920"/>
            <a:ext cx="10367963" cy="942717"/>
          </a:xfrm>
        </p:spPr>
        <p:txBody>
          <a:bodyPr/>
          <a:lstStyle/>
          <a:p>
            <a:r>
              <a:rPr lang="ja-JP" altLang="en-US" dirty="0"/>
              <a:t>小売企業として、商品の</a:t>
            </a:r>
            <a:r>
              <a:rPr lang="en-US" altLang="ja-JP" dirty="0"/>
              <a:t>CFP</a:t>
            </a:r>
            <a:r>
              <a:rPr lang="ja-JP" altLang="en-US" dirty="0"/>
              <a:t>の表示に関する基準を検討し、サプライヤーであるメーカーや卸売企業に対する協力の働きかけや支援の行動計画を策定する</a:t>
            </a:r>
          </a:p>
        </p:txBody>
      </p:sp>
      <p:sp>
        <p:nvSpPr>
          <p:cNvPr id="6" name="Rectangle 5">
            <a:extLst>
              <a:ext uri="{FF2B5EF4-FFF2-40B4-BE49-F238E27FC236}">
                <a16:creationId xmlns:a16="http://schemas.microsoft.com/office/drawing/2014/main" id="{627517BA-4E50-435A-90FD-9065B7322E98}"/>
              </a:ext>
            </a:extLst>
          </p:cNvPr>
          <p:cNvSpPr/>
          <p:nvPr/>
        </p:nvSpPr>
        <p:spPr>
          <a:xfrm>
            <a:off x="2916103" y="2535136"/>
            <a:ext cx="7493136" cy="1946134"/>
          </a:xfrm>
          <a:prstGeom prst="rect">
            <a:avLst/>
          </a:prstGeom>
          <a:solidFill>
            <a:schemeClr val="bg1">
              <a:lumMod val="9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1130300" lvl="0"/>
            <a:r>
              <a:rPr lang="ja-JP" altLang="en-US" dirty="0">
                <a:solidFill>
                  <a:schemeClr val="tx1"/>
                </a:solidFill>
                <a:latin typeface="Trebuchet MS" panose="020B0603020202020204" pitchFamily="34" charset="0"/>
                <a:ea typeface="Meiryo UI" panose="020B0604030504040204" pitchFamily="50" charset="-128"/>
              </a:rPr>
              <a:t>小売企業として、自社内で販売する際の商品の</a:t>
            </a:r>
            <a:r>
              <a:rPr lang="en-US" altLang="ja-JP" dirty="0">
                <a:solidFill>
                  <a:schemeClr val="tx1"/>
                </a:solidFill>
                <a:latin typeface="Trebuchet MS" panose="020B0603020202020204" pitchFamily="34" charset="0"/>
                <a:ea typeface="Meiryo UI" panose="020B0604030504040204" pitchFamily="50" charset="-128"/>
              </a:rPr>
              <a:t>CFP</a:t>
            </a:r>
            <a:r>
              <a:rPr lang="ja-JP" altLang="en-US" dirty="0">
                <a:solidFill>
                  <a:schemeClr val="tx1"/>
                </a:solidFill>
                <a:latin typeface="Trebuchet MS" panose="020B0603020202020204" pitchFamily="34" charset="0"/>
                <a:ea typeface="Meiryo UI" panose="020B0604030504040204" pitchFamily="50" charset="-128"/>
              </a:rPr>
              <a:t>の調達・表示の基準</a:t>
            </a:r>
            <a:r>
              <a:rPr lang="en-US" altLang="ja-JP" dirty="0">
                <a:solidFill>
                  <a:schemeClr val="tx1"/>
                </a:solidFill>
                <a:latin typeface="Trebuchet MS" panose="020B0603020202020204" pitchFamily="34" charset="0"/>
                <a:ea typeface="Meiryo UI" panose="020B0604030504040204" pitchFamily="50" charset="-128"/>
              </a:rPr>
              <a:t>(</a:t>
            </a:r>
            <a:r>
              <a:rPr lang="ja-JP" altLang="en-US" dirty="0">
                <a:solidFill>
                  <a:schemeClr val="tx1"/>
                </a:solidFill>
                <a:latin typeface="Trebuchet MS" panose="020B0603020202020204" pitchFamily="34" charset="0"/>
                <a:ea typeface="Meiryo UI" panose="020B0604030504040204" pitchFamily="50" charset="-128"/>
              </a:rPr>
              <a:t>ラベルの在り方等</a:t>
            </a:r>
            <a:r>
              <a:rPr lang="en-US" altLang="ja-JP" dirty="0">
                <a:solidFill>
                  <a:schemeClr val="tx1"/>
                </a:solidFill>
                <a:latin typeface="Trebuchet MS" panose="020B0603020202020204" pitchFamily="34" charset="0"/>
                <a:ea typeface="Meiryo UI" panose="020B0604030504040204" pitchFamily="50" charset="-128"/>
              </a:rPr>
              <a:t>) </a:t>
            </a:r>
            <a:r>
              <a:rPr lang="ja-JP" altLang="en-US" dirty="0">
                <a:solidFill>
                  <a:schemeClr val="tx1"/>
                </a:solidFill>
                <a:latin typeface="Trebuchet MS" panose="020B0603020202020204" pitchFamily="34" charset="0"/>
                <a:ea typeface="Meiryo UI" panose="020B0604030504040204" pitchFamily="50" charset="-128"/>
              </a:rPr>
              <a:t>を検討する</a:t>
            </a:r>
            <a:endParaRPr lang="en-US" altLang="ja-JP"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自社のサステナビリティ戦略／消費者の行動変容戦略として、</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の</a:t>
            </a:r>
            <a:br>
              <a:rPr lang="en-US" altLang="ja-JP" sz="1600" dirty="0">
                <a:solidFill>
                  <a:schemeClr val="tx1"/>
                </a:solidFill>
                <a:latin typeface="Trebuchet MS" panose="020B0603020202020204" pitchFamily="34" charset="0"/>
                <a:ea typeface="Meiryo UI" panose="020B0604030504040204" pitchFamily="50" charset="-128"/>
              </a:rPr>
            </a:br>
            <a:r>
              <a:rPr lang="ja-JP" altLang="en-US" sz="1600" dirty="0">
                <a:solidFill>
                  <a:schemeClr val="tx1"/>
                </a:solidFill>
                <a:latin typeface="Trebuchet MS" panose="020B0603020202020204" pitchFamily="34" charset="0"/>
                <a:ea typeface="Meiryo UI" panose="020B0604030504040204" pitchFamily="50" charset="-128"/>
              </a:rPr>
              <a:t>活用の方策</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商品の調達における</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に係る基準、又は商品販売時の</a:t>
            </a:r>
            <a:r>
              <a:rPr lang="en-US" altLang="ja-JP" sz="1600" dirty="0">
                <a:solidFill>
                  <a:schemeClr val="tx1"/>
                </a:solidFill>
                <a:latin typeface="Trebuchet MS" panose="020B0603020202020204" pitchFamily="34" charset="0"/>
                <a:ea typeface="Meiryo UI" panose="020B0604030504040204" pitchFamily="50" charset="-128"/>
              </a:rPr>
              <a:t>CFP</a:t>
            </a:r>
            <a:r>
              <a:rPr lang="ja-JP" altLang="en-US" sz="1600" dirty="0">
                <a:solidFill>
                  <a:schemeClr val="tx1"/>
                </a:solidFill>
                <a:latin typeface="Trebuchet MS" panose="020B0603020202020204" pitchFamily="34" charset="0"/>
                <a:ea typeface="Meiryo UI" panose="020B0604030504040204" pitchFamily="50" charset="-128"/>
              </a:rPr>
              <a:t>表示に係る基準の検討</a:t>
            </a:r>
          </a:p>
        </p:txBody>
      </p:sp>
      <p:sp>
        <p:nvSpPr>
          <p:cNvPr id="14" name="ee4pFootnotes">
            <a:extLst>
              <a:ext uri="{FF2B5EF4-FFF2-40B4-BE49-F238E27FC236}">
                <a16:creationId xmlns:a16="http://schemas.microsoft.com/office/drawing/2014/main" id="{CA0843B9-5C4D-41A6-B576-DE7A255DEDF3}"/>
              </a:ext>
            </a:extLst>
          </p:cNvPr>
          <p:cNvSpPr>
            <a:spLocks noChangeArrowheads="1"/>
          </p:cNvSpPr>
          <p:nvPr/>
        </p:nvSpPr>
        <p:spPr bwMode="auto">
          <a:xfrm>
            <a:off x="629398" y="7032544"/>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注</a:t>
            </a:r>
            <a:r>
              <a:rPr 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 </a:t>
            </a:r>
            <a:r>
              <a:rPr lang="ja-JP" alt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rPr>
              <a:t>支援内容は、各社の検討状況や支援ニーズに応じて変更する</a:t>
            </a:r>
            <a:endParaRPr lang="en-US" sz="1000" dirty="0">
              <a:solidFill>
                <a:srgbClr val="7F7F7F">
                  <a:lumMod val="100000"/>
                </a:srgbClr>
              </a:solidFill>
              <a:latin typeface="Trebuchet MS" panose="020B0603020202020204" pitchFamily="34" charset="0"/>
              <a:ea typeface="Meiryo UI" panose="020B0604030504040204" pitchFamily="50" charset="-128"/>
              <a:cs typeface="Arial" pitchFamily="34" charset="0"/>
            </a:endParaRPr>
          </a:p>
        </p:txBody>
      </p:sp>
      <p:sp>
        <p:nvSpPr>
          <p:cNvPr id="8" name="Arrow: Pentagon 7">
            <a:extLst>
              <a:ext uri="{FF2B5EF4-FFF2-40B4-BE49-F238E27FC236}">
                <a16:creationId xmlns:a16="http://schemas.microsoft.com/office/drawing/2014/main" id="{FD7D7F3B-DCAD-4A3C-A78A-A4F9EDA42F68}"/>
              </a:ext>
            </a:extLst>
          </p:cNvPr>
          <p:cNvSpPr/>
          <p:nvPr/>
        </p:nvSpPr>
        <p:spPr>
          <a:xfrm rot="5400000">
            <a:off x="478281" y="2339430"/>
            <a:ext cx="2011255" cy="2402671"/>
          </a:xfrm>
          <a:prstGeom prst="homePlate">
            <a:avLst>
              <a:gd name="adj" fmla="val 16975"/>
            </a:avLst>
          </a:prstGeom>
          <a:solidFill>
            <a:srgbClr val="009C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ja-JP" altLang="en-US" sz="1600">
                <a:solidFill>
                  <a:srgbClr val="FFFFFF"/>
                </a:solidFill>
                <a:latin typeface="Trebuchet MS"/>
                <a:ea typeface="Meiryo UI"/>
              </a:rPr>
              <a:t>商品</a:t>
            </a:r>
            <a:r>
              <a:rPr lang="en-US" altLang="ja-JP" sz="1600" dirty="0">
                <a:solidFill>
                  <a:srgbClr val="FFFFFF"/>
                </a:solidFill>
                <a:latin typeface="Trebuchet MS"/>
                <a:ea typeface="Meiryo UI"/>
              </a:rPr>
              <a:t>CFP</a:t>
            </a:r>
            <a:r>
              <a:rPr lang="ja-JP" altLang="en-US" sz="1600">
                <a:solidFill>
                  <a:srgbClr val="FFFFFF"/>
                </a:solidFill>
                <a:latin typeface="Trebuchet MS"/>
                <a:ea typeface="Meiryo UI"/>
              </a:rPr>
              <a:t>の</a:t>
            </a:r>
            <a:br>
              <a:rPr lang="en-US" altLang="ja-JP" sz="1600" dirty="0">
                <a:latin typeface="Trebuchet MS" panose="020B0603020202020204" pitchFamily="34" charset="0"/>
                <a:ea typeface="Meiryo UI" panose="020B0604030504040204" pitchFamily="50" charset="-128"/>
              </a:rPr>
            </a:br>
            <a:r>
              <a:rPr lang="ja-JP" altLang="en-US" sz="1600">
                <a:solidFill>
                  <a:srgbClr val="FFFFFF"/>
                </a:solidFill>
                <a:latin typeface="Trebuchet MS"/>
                <a:ea typeface="Meiryo UI"/>
              </a:rPr>
              <a:t>調達・表示基準</a:t>
            </a:r>
            <a:br>
              <a:rPr lang="ja-JP" altLang="en-US" sz="1600" dirty="0">
                <a:solidFill>
                  <a:srgbClr val="FFFFFF"/>
                </a:solidFill>
                <a:latin typeface="Trebuchet MS"/>
                <a:ea typeface="Meiryo UI"/>
              </a:rPr>
            </a:br>
            <a:r>
              <a:rPr lang="ja-JP" altLang="en-US" sz="1600">
                <a:solidFill>
                  <a:srgbClr val="FFFFFF"/>
                </a:solidFill>
                <a:latin typeface="Trebuchet MS" panose="020B0603020202020204" pitchFamily="34" charset="0"/>
                <a:ea typeface="Meiryo UI" panose="020B0604030504040204" pitchFamily="50" charset="-128"/>
              </a:rPr>
              <a:t>の検討</a:t>
            </a:r>
            <a:endParaRPr lang="ja-JP" altLang="en-US" sz="1600" dirty="0">
              <a:solidFill>
                <a:srgbClr val="FFFFFF"/>
              </a:solidFill>
              <a:latin typeface="Trebuchet MS" panose="020B0603020202020204" pitchFamily="34" charset="0"/>
              <a:ea typeface="Meiryo UI" panose="020B0604030504040204" pitchFamily="50" charset="-128"/>
            </a:endParaRPr>
          </a:p>
        </p:txBody>
      </p:sp>
      <p:sp>
        <p:nvSpPr>
          <p:cNvPr id="9" name="Oval 8">
            <a:extLst>
              <a:ext uri="{FF2B5EF4-FFF2-40B4-BE49-F238E27FC236}">
                <a16:creationId xmlns:a16="http://schemas.microsoft.com/office/drawing/2014/main" id="{91E4655C-D305-4A1A-AB0A-B83CDAE5DF8E}"/>
              </a:ext>
            </a:extLst>
          </p:cNvPr>
          <p:cNvSpPr/>
          <p:nvPr/>
        </p:nvSpPr>
        <p:spPr>
          <a:xfrm>
            <a:off x="161925" y="2387496"/>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1</a:t>
            </a:r>
          </a:p>
        </p:txBody>
      </p:sp>
      <p:sp>
        <p:nvSpPr>
          <p:cNvPr id="25" name="Rectangle 24">
            <a:extLst>
              <a:ext uri="{FF2B5EF4-FFF2-40B4-BE49-F238E27FC236}">
                <a16:creationId xmlns:a16="http://schemas.microsoft.com/office/drawing/2014/main" id="{03BADE98-8A7D-432F-92CC-8FFC7D6A084D}"/>
              </a:ext>
            </a:extLst>
          </p:cNvPr>
          <p:cNvSpPr/>
          <p:nvPr/>
        </p:nvSpPr>
        <p:spPr>
          <a:xfrm>
            <a:off x="2916103" y="4816858"/>
            <a:ext cx="7493136" cy="1946134"/>
          </a:xfrm>
          <a:prstGeom prst="rect">
            <a:avLst/>
          </a:prstGeom>
          <a:solidFill>
            <a:schemeClr val="bg1">
              <a:lumMod val="9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1130300"/>
            <a:r>
              <a:rPr lang="ja-JP" altLang="en-US" dirty="0">
                <a:solidFill>
                  <a:schemeClr val="tx1"/>
                </a:solidFill>
                <a:latin typeface="Trebuchet MS" panose="020B0603020202020204" pitchFamily="34" charset="0"/>
                <a:ea typeface="Meiryo UI" panose="020B0604030504040204" pitchFamily="50" charset="-128"/>
              </a:rPr>
              <a:t>上記の基準を多くのサプライヤー企業に活用してもらうことを依頼・要請しつつ、小売企業としてサプライヤーの算定・排出削減を支援する方法を検討する</a:t>
            </a: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サプライヤーへの依頼・要請・支援に関する目標を設定する</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依頼・要請・支援すべきサプライヤーや商品の範囲を検討</a:t>
            </a:r>
            <a:endParaRPr lang="en-US" altLang="ja-JP" sz="1600" dirty="0">
              <a:solidFill>
                <a:schemeClr val="tx1"/>
              </a:solidFill>
              <a:latin typeface="Trebuchet MS" panose="020B0603020202020204" pitchFamily="34" charset="0"/>
              <a:ea typeface="Meiryo UI" panose="020B0604030504040204" pitchFamily="50" charset="-128"/>
            </a:endParaRPr>
          </a:p>
          <a:p>
            <a:pPr marL="1549400" lvl="1" indent="-254000">
              <a:buClr>
                <a:schemeClr val="tx2">
                  <a:lumMod val="100000"/>
                </a:schemeClr>
              </a:buClr>
              <a:buSzPct val="100000"/>
              <a:buFont typeface="Trebuchet MS" panose="020B0603020202020204" pitchFamily="34" charset="0"/>
              <a:buChar char="•"/>
            </a:pPr>
            <a:r>
              <a:rPr lang="ja-JP" altLang="en-US" sz="1600" dirty="0">
                <a:solidFill>
                  <a:schemeClr val="tx1"/>
                </a:solidFill>
                <a:latin typeface="Trebuchet MS" panose="020B0603020202020204" pitchFamily="34" charset="0"/>
                <a:ea typeface="Meiryo UI" panose="020B0604030504040204" pitchFamily="50" charset="-128"/>
              </a:rPr>
              <a:t>依頼・要請・支援の内容や方法を検討</a:t>
            </a:r>
            <a:endParaRPr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39" name="Group 2">
            <a:extLst>
              <a:ext uri="{FF2B5EF4-FFF2-40B4-BE49-F238E27FC236}">
                <a16:creationId xmlns:a16="http://schemas.microsoft.com/office/drawing/2014/main" id="{042DA164-CE3A-4DFF-A333-F362ADB2F7FB}"/>
              </a:ext>
            </a:extLst>
          </p:cNvPr>
          <p:cNvGrpSpPr>
            <a:grpSpLocks noChangeAspect="1"/>
          </p:cNvGrpSpPr>
          <p:nvPr/>
        </p:nvGrpSpPr>
        <p:grpSpPr>
          <a:xfrm>
            <a:off x="2998891" y="5290964"/>
            <a:ext cx="997922" cy="997922"/>
            <a:chOff x="5273040" y="2606040"/>
            <a:chExt cx="1645920" cy="1645920"/>
          </a:xfrm>
        </p:grpSpPr>
        <p:sp>
          <p:nvSpPr>
            <p:cNvPr id="40" name="AutoShape 3">
              <a:extLst>
                <a:ext uri="{FF2B5EF4-FFF2-40B4-BE49-F238E27FC236}">
                  <a16:creationId xmlns:a16="http://schemas.microsoft.com/office/drawing/2014/main" id="{78E70478-22EA-4C7B-8346-63DEED4983A6}"/>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1">
              <a:extLst>
                <a:ext uri="{FF2B5EF4-FFF2-40B4-BE49-F238E27FC236}">
                  <a16:creationId xmlns:a16="http://schemas.microsoft.com/office/drawing/2014/main" id="{56B9349A-EBCB-4584-8FFC-744557F247D1}"/>
                </a:ext>
              </a:extLst>
            </p:cNvPr>
            <p:cNvGrpSpPr/>
            <p:nvPr/>
          </p:nvGrpSpPr>
          <p:grpSpPr>
            <a:xfrm>
              <a:off x="5495163" y="2881121"/>
              <a:ext cx="1201674" cy="1095756"/>
              <a:chOff x="5495163" y="2881121"/>
              <a:chExt cx="1201674" cy="1095756"/>
            </a:xfrm>
          </p:grpSpPr>
          <p:sp>
            <p:nvSpPr>
              <p:cNvPr id="42" name="Freeform 7">
                <a:extLst>
                  <a:ext uri="{FF2B5EF4-FFF2-40B4-BE49-F238E27FC236}">
                    <a16:creationId xmlns:a16="http://schemas.microsoft.com/office/drawing/2014/main" id="{93983F74-44A7-4B03-A1CE-2C3E5177C5E7}"/>
                  </a:ext>
                </a:extLst>
              </p:cNvPr>
              <p:cNvSpPr>
                <a:spLocks/>
              </p:cNvSpPr>
              <p:nvPr/>
            </p:nvSpPr>
            <p:spPr bwMode="auto">
              <a:xfrm>
                <a:off x="5645277" y="2945511"/>
                <a:ext cx="988695" cy="650748"/>
              </a:xfrm>
              <a:custGeom>
                <a:avLst/>
                <a:gdLst>
                  <a:gd name="T0" fmla="*/ 1381 w 1384"/>
                  <a:gd name="T1" fmla="*/ 560 h 911"/>
                  <a:gd name="T2" fmla="*/ 1366 w 1384"/>
                  <a:gd name="T3" fmla="*/ 513 h 911"/>
                  <a:gd name="T4" fmla="*/ 1332 w 1384"/>
                  <a:gd name="T5" fmla="*/ 462 h 911"/>
                  <a:gd name="T6" fmla="*/ 1304 w 1384"/>
                  <a:gd name="T7" fmla="*/ 405 h 911"/>
                  <a:gd name="T8" fmla="*/ 1024 w 1384"/>
                  <a:gd name="T9" fmla="*/ 167 h 911"/>
                  <a:gd name="T10" fmla="*/ 937 w 1384"/>
                  <a:gd name="T11" fmla="*/ 54 h 911"/>
                  <a:gd name="T12" fmla="*/ 866 w 1384"/>
                  <a:gd name="T13" fmla="*/ 29 h 911"/>
                  <a:gd name="T14" fmla="*/ 780 w 1384"/>
                  <a:gd name="T15" fmla="*/ 36 h 911"/>
                  <a:gd name="T16" fmla="*/ 713 w 1384"/>
                  <a:gd name="T17" fmla="*/ 73 h 911"/>
                  <a:gd name="T18" fmla="*/ 607 w 1384"/>
                  <a:gd name="T19" fmla="*/ 22 h 911"/>
                  <a:gd name="T20" fmla="*/ 495 w 1384"/>
                  <a:gd name="T21" fmla="*/ 0 h 911"/>
                  <a:gd name="T22" fmla="*/ 375 w 1384"/>
                  <a:gd name="T23" fmla="*/ 26 h 911"/>
                  <a:gd name="T24" fmla="*/ 305 w 1384"/>
                  <a:gd name="T25" fmla="*/ 72 h 911"/>
                  <a:gd name="T26" fmla="*/ 233 w 1384"/>
                  <a:gd name="T27" fmla="*/ 173 h 911"/>
                  <a:gd name="T28" fmla="*/ 213 w 1384"/>
                  <a:gd name="T29" fmla="*/ 249 h 911"/>
                  <a:gd name="T30" fmla="*/ 192 w 1384"/>
                  <a:gd name="T31" fmla="*/ 312 h 911"/>
                  <a:gd name="T32" fmla="*/ 124 w 1384"/>
                  <a:gd name="T33" fmla="*/ 339 h 911"/>
                  <a:gd name="T34" fmla="*/ 76 w 1384"/>
                  <a:gd name="T35" fmla="*/ 375 h 911"/>
                  <a:gd name="T36" fmla="*/ 24 w 1384"/>
                  <a:gd name="T37" fmla="*/ 447 h 911"/>
                  <a:gd name="T38" fmla="*/ 0 w 1384"/>
                  <a:gd name="T39" fmla="*/ 538 h 911"/>
                  <a:gd name="T40" fmla="*/ 2 w 1384"/>
                  <a:gd name="T41" fmla="*/ 588 h 911"/>
                  <a:gd name="T42" fmla="*/ 8 w 1384"/>
                  <a:gd name="T43" fmla="*/ 617 h 911"/>
                  <a:gd name="T44" fmla="*/ 18 w 1384"/>
                  <a:gd name="T45" fmla="*/ 647 h 911"/>
                  <a:gd name="T46" fmla="*/ 31 w 1384"/>
                  <a:gd name="T47" fmla="*/ 673 h 911"/>
                  <a:gd name="T48" fmla="*/ 49 w 1384"/>
                  <a:gd name="T49" fmla="*/ 701 h 911"/>
                  <a:gd name="T50" fmla="*/ 71 w 1384"/>
                  <a:gd name="T51" fmla="*/ 726 h 911"/>
                  <a:gd name="T52" fmla="*/ 93 w 1384"/>
                  <a:gd name="T53" fmla="*/ 746 h 911"/>
                  <a:gd name="T54" fmla="*/ 117 w 1384"/>
                  <a:gd name="T55" fmla="*/ 763 h 911"/>
                  <a:gd name="T56" fmla="*/ 153 w 1384"/>
                  <a:gd name="T57" fmla="*/ 782 h 911"/>
                  <a:gd name="T58" fmla="*/ 181 w 1384"/>
                  <a:gd name="T59" fmla="*/ 799 h 911"/>
                  <a:gd name="T60" fmla="*/ 207 w 1384"/>
                  <a:gd name="T61" fmla="*/ 829 h 911"/>
                  <a:gd name="T62" fmla="*/ 226 w 1384"/>
                  <a:gd name="T63" fmla="*/ 847 h 911"/>
                  <a:gd name="T64" fmla="*/ 258 w 1384"/>
                  <a:gd name="T65" fmla="*/ 870 h 911"/>
                  <a:gd name="T66" fmla="*/ 294 w 1384"/>
                  <a:gd name="T67" fmla="*/ 889 h 911"/>
                  <a:gd name="T68" fmla="*/ 333 w 1384"/>
                  <a:gd name="T69" fmla="*/ 902 h 911"/>
                  <a:gd name="T70" fmla="*/ 372 w 1384"/>
                  <a:gd name="T71" fmla="*/ 909 h 911"/>
                  <a:gd name="T72" fmla="*/ 421 w 1384"/>
                  <a:gd name="T73" fmla="*/ 910 h 911"/>
                  <a:gd name="T74" fmla="*/ 464 w 1384"/>
                  <a:gd name="T75" fmla="*/ 904 h 911"/>
                  <a:gd name="T76" fmla="*/ 516 w 1384"/>
                  <a:gd name="T77" fmla="*/ 886 h 911"/>
                  <a:gd name="T78" fmla="*/ 569 w 1384"/>
                  <a:gd name="T79" fmla="*/ 853 h 911"/>
                  <a:gd name="T80" fmla="*/ 600 w 1384"/>
                  <a:gd name="T81" fmla="*/ 826 h 911"/>
                  <a:gd name="T82" fmla="*/ 649 w 1384"/>
                  <a:gd name="T83" fmla="*/ 846 h 911"/>
                  <a:gd name="T84" fmla="*/ 668 w 1384"/>
                  <a:gd name="T85" fmla="*/ 856 h 911"/>
                  <a:gd name="T86" fmla="*/ 699 w 1384"/>
                  <a:gd name="T87" fmla="*/ 868 h 911"/>
                  <a:gd name="T88" fmla="*/ 727 w 1384"/>
                  <a:gd name="T89" fmla="*/ 874 h 911"/>
                  <a:gd name="T90" fmla="*/ 765 w 1384"/>
                  <a:gd name="T91" fmla="*/ 876 h 911"/>
                  <a:gd name="T92" fmla="*/ 817 w 1384"/>
                  <a:gd name="T93" fmla="*/ 868 h 911"/>
                  <a:gd name="T94" fmla="*/ 890 w 1384"/>
                  <a:gd name="T95" fmla="*/ 832 h 911"/>
                  <a:gd name="T96" fmla="*/ 922 w 1384"/>
                  <a:gd name="T97" fmla="*/ 829 h 911"/>
                  <a:gd name="T98" fmla="*/ 940 w 1384"/>
                  <a:gd name="T99" fmla="*/ 837 h 911"/>
                  <a:gd name="T100" fmla="*/ 966 w 1384"/>
                  <a:gd name="T101" fmla="*/ 845 h 911"/>
                  <a:gd name="T102" fmla="*/ 991 w 1384"/>
                  <a:gd name="T103" fmla="*/ 850 h 911"/>
                  <a:gd name="T104" fmla="*/ 1016 w 1384"/>
                  <a:gd name="T105" fmla="*/ 851 h 911"/>
                  <a:gd name="T106" fmla="*/ 1059 w 1384"/>
                  <a:gd name="T107" fmla="*/ 845 h 911"/>
                  <a:gd name="T108" fmla="*/ 1105 w 1384"/>
                  <a:gd name="T109" fmla="*/ 827 h 911"/>
                  <a:gd name="T110" fmla="*/ 1139 w 1384"/>
                  <a:gd name="T111" fmla="*/ 803 h 911"/>
                  <a:gd name="T112" fmla="*/ 1235 w 1384"/>
                  <a:gd name="T113" fmla="*/ 793 h 911"/>
                  <a:gd name="T114" fmla="*/ 1313 w 1384"/>
                  <a:gd name="T115" fmla="*/ 752 h 911"/>
                  <a:gd name="T116" fmla="*/ 1344 w 1384"/>
                  <a:gd name="T117" fmla="*/ 718 h 911"/>
                  <a:gd name="T118" fmla="*/ 1372 w 1384"/>
                  <a:gd name="T119" fmla="*/ 667 h 911"/>
                  <a:gd name="T120" fmla="*/ 1382 w 1384"/>
                  <a:gd name="T121" fmla="*/ 628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4" h="911">
                    <a:moveTo>
                      <a:pt x="1384" y="597"/>
                    </a:moveTo>
                    <a:cubicBezTo>
                      <a:pt x="1384" y="595"/>
                      <a:pt x="1384" y="592"/>
                      <a:pt x="1384" y="589"/>
                    </a:cubicBezTo>
                    <a:cubicBezTo>
                      <a:pt x="1384" y="589"/>
                      <a:pt x="1384" y="589"/>
                      <a:pt x="1384" y="589"/>
                    </a:cubicBezTo>
                    <a:cubicBezTo>
                      <a:pt x="1384" y="588"/>
                      <a:pt x="1384" y="587"/>
                      <a:pt x="1384" y="586"/>
                    </a:cubicBezTo>
                    <a:cubicBezTo>
                      <a:pt x="1384" y="586"/>
                      <a:pt x="1384" y="586"/>
                      <a:pt x="1384" y="586"/>
                    </a:cubicBezTo>
                    <a:cubicBezTo>
                      <a:pt x="1384" y="584"/>
                      <a:pt x="1384" y="582"/>
                      <a:pt x="1384" y="580"/>
                    </a:cubicBezTo>
                    <a:cubicBezTo>
                      <a:pt x="1384" y="579"/>
                      <a:pt x="1384" y="578"/>
                      <a:pt x="1383" y="577"/>
                    </a:cubicBezTo>
                    <a:cubicBezTo>
                      <a:pt x="1383" y="577"/>
                      <a:pt x="1383" y="577"/>
                      <a:pt x="1383" y="577"/>
                    </a:cubicBezTo>
                    <a:cubicBezTo>
                      <a:pt x="1383" y="577"/>
                      <a:pt x="1383" y="577"/>
                      <a:pt x="1383" y="577"/>
                    </a:cubicBezTo>
                    <a:cubicBezTo>
                      <a:pt x="1383" y="575"/>
                      <a:pt x="1383" y="574"/>
                      <a:pt x="1383" y="572"/>
                    </a:cubicBezTo>
                    <a:cubicBezTo>
                      <a:pt x="1383" y="571"/>
                      <a:pt x="1383" y="570"/>
                      <a:pt x="1382" y="569"/>
                    </a:cubicBezTo>
                    <a:cubicBezTo>
                      <a:pt x="1382" y="569"/>
                      <a:pt x="1382" y="569"/>
                      <a:pt x="1382" y="568"/>
                    </a:cubicBezTo>
                    <a:cubicBezTo>
                      <a:pt x="1382" y="568"/>
                      <a:pt x="1382" y="568"/>
                      <a:pt x="1382" y="568"/>
                    </a:cubicBezTo>
                    <a:cubicBezTo>
                      <a:pt x="1382" y="567"/>
                      <a:pt x="1382" y="565"/>
                      <a:pt x="1382" y="563"/>
                    </a:cubicBezTo>
                    <a:cubicBezTo>
                      <a:pt x="1382" y="563"/>
                      <a:pt x="1382" y="563"/>
                      <a:pt x="1381" y="563"/>
                    </a:cubicBezTo>
                    <a:cubicBezTo>
                      <a:pt x="1381" y="562"/>
                      <a:pt x="1381" y="561"/>
                      <a:pt x="1381" y="560"/>
                    </a:cubicBezTo>
                    <a:cubicBezTo>
                      <a:pt x="1381" y="560"/>
                      <a:pt x="1381" y="560"/>
                      <a:pt x="1381" y="560"/>
                    </a:cubicBezTo>
                    <a:cubicBezTo>
                      <a:pt x="1381" y="558"/>
                      <a:pt x="1380" y="557"/>
                      <a:pt x="1380" y="555"/>
                    </a:cubicBezTo>
                    <a:cubicBezTo>
                      <a:pt x="1380" y="554"/>
                      <a:pt x="1380" y="553"/>
                      <a:pt x="1379" y="552"/>
                    </a:cubicBezTo>
                    <a:cubicBezTo>
                      <a:pt x="1379" y="552"/>
                      <a:pt x="1379" y="552"/>
                      <a:pt x="1379" y="552"/>
                    </a:cubicBezTo>
                    <a:cubicBezTo>
                      <a:pt x="1379" y="552"/>
                      <a:pt x="1379" y="552"/>
                      <a:pt x="1379" y="552"/>
                    </a:cubicBezTo>
                    <a:cubicBezTo>
                      <a:pt x="1379" y="550"/>
                      <a:pt x="1378" y="548"/>
                      <a:pt x="1378" y="546"/>
                    </a:cubicBezTo>
                    <a:cubicBezTo>
                      <a:pt x="1378" y="545"/>
                      <a:pt x="1377" y="545"/>
                      <a:pt x="1377" y="544"/>
                    </a:cubicBezTo>
                    <a:cubicBezTo>
                      <a:pt x="1376" y="541"/>
                      <a:pt x="1376" y="539"/>
                      <a:pt x="1375" y="536"/>
                    </a:cubicBezTo>
                    <a:cubicBezTo>
                      <a:pt x="1375" y="536"/>
                      <a:pt x="1375" y="536"/>
                      <a:pt x="1375" y="536"/>
                    </a:cubicBezTo>
                    <a:cubicBezTo>
                      <a:pt x="1375" y="536"/>
                      <a:pt x="1375" y="536"/>
                      <a:pt x="1375" y="536"/>
                    </a:cubicBezTo>
                    <a:cubicBezTo>
                      <a:pt x="1374" y="532"/>
                      <a:pt x="1372" y="528"/>
                      <a:pt x="1371" y="525"/>
                    </a:cubicBezTo>
                    <a:cubicBezTo>
                      <a:pt x="1371" y="525"/>
                      <a:pt x="1371" y="525"/>
                      <a:pt x="1371" y="525"/>
                    </a:cubicBezTo>
                    <a:cubicBezTo>
                      <a:pt x="1370" y="524"/>
                      <a:pt x="1370" y="523"/>
                      <a:pt x="1370" y="522"/>
                    </a:cubicBezTo>
                    <a:cubicBezTo>
                      <a:pt x="1370" y="522"/>
                      <a:pt x="1370" y="522"/>
                      <a:pt x="1370" y="522"/>
                    </a:cubicBezTo>
                    <a:cubicBezTo>
                      <a:pt x="1370" y="521"/>
                      <a:pt x="1369" y="521"/>
                      <a:pt x="1369" y="520"/>
                    </a:cubicBezTo>
                    <a:cubicBezTo>
                      <a:pt x="1368" y="518"/>
                      <a:pt x="1367" y="515"/>
                      <a:pt x="1366" y="513"/>
                    </a:cubicBezTo>
                    <a:cubicBezTo>
                      <a:pt x="1365" y="512"/>
                      <a:pt x="1365" y="512"/>
                      <a:pt x="1365" y="511"/>
                    </a:cubicBezTo>
                    <a:cubicBezTo>
                      <a:pt x="1363" y="506"/>
                      <a:pt x="1360" y="501"/>
                      <a:pt x="1357" y="496"/>
                    </a:cubicBezTo>
                    <a:cubicBezTo>
                      <a:pt x="1355" y="493"/>
                      <a:pt x="1354" y="490"/>
                      <a:pt x="1352" y="488"/>
                    </a:cubicBezTo>
                    <a:cubicBezTo>
                      <a:pt x="1352" y="488"/>
                      <a:pt x="1352" y="488"/>
                      <a:pt x="1352" y="488"/>
                    </a:cubicBezTo>
                    <a:cubicBezTo>
                      <a:pt x="1351" y="487"/>
                      <a:pt x="1351" y="486"/>
                      <a:pt x="1350" y="485"/>
                    </a:cubicBezTo>
                    <a:cubicBezTo>
                      <a:pt x="1349" y="483"/>
                      <a:pt x="1348" y="481"/>
                      <a:pt x="1346" y="480"/>
                    </a:cubicBezTo>
                    <a:cubicBezTo>
                      <a:pt x="1346" y="479"/>
                      <a:pt x="1345" y="478"/>
                      <a:pt x="1344" y="477"/>
                    </a:cubicBezTo>
                    <a:cubicBezTo>
                      <a:pt x="1343" y="476"/>
                      <a:pt x="1342" y="474"/>
                      <a:pt x="1341" y="473"/>
                    </a:cubicBezTo>
                    <a:cubicBezTo>
                      <a:pt x="1341" y="472"/>
                      <a:pt x="1340" y="472"/>
                      <a:pt x="1340" y="471"/>
                    </a:cubicBezTo>
                    <a:cubicBezTo>
                      <a:pt x="1340" y="471"/>
                      <a:pt x="1340" y="471"/>
                      <a:pt x="1340" y="471"/>
                    </a:cubicBezTo>
                    <a:cubicBezTo>
                      <a:pt x="1340" y="471"/>
                      <a:pt x="1339" y="471"/>
                      <a:pt x="1339" y="470"/>
                    </a:cubicBezTo>
                    <a:cubicBezTo>
                      <a:pt x="1339" y="470"/>
                      <a:pt x="1339" y="470"/>
                      <a:pt x="1338" y="469"/>
                    </a:cubicBezTo>
                    <a:cubicBezTo>
                      <a:pt x="1337" y="468"/>
                      <a:pt x="1335" y="466"/>
                      <a:pt x="1334" y="464"/>
                    </a:cubicBezTo>
                    <a:cubicBezTo>
                      <a:pt x="1333" y="464"/>
                      <a:pt x="1333" y="463"/>
                      <a:pt x="1332" y="462"/>
                    </a:cubicBezTo>
                    <a:cubicBezTo>
                      <a:pt x="1332" y="462"/>
                      <a:pt x="1332" y="462"/>
                      <a:pt x="1332" y="462"/>
                    </a:cubicBezTo>
                    <a:cubicBezTo>
                      <a:pt x="1332" y="462"/>
                      <a:pt x="1332" y="462"/>
                      <a:pt x="1332" y="462"/>
                    </a:cubicBezTo>
                    <a:cubicBezTo>
                      <a:pt x="1331" y="461"/>
                      <a:pt x="1330" y="460"/>
                      <a:pt x="1329" y="459"/>
                    </a:cubicBezTo>
                    <a:cubicBezTo>
                      <a:pt x="1328" y="458"/>
                      <a:pt x="1327" y="457"/>
                      <a:pt x="1326" y="455"/>
                    </a:cubicBezTo>
                    <a:cubicBezTo>
                      <a:pt x="1325" y="455"/>
                      <a:pt x="1325" y="455"/>
                      <a:pt x="1325" y="455"/>
                    </a:cubicBezTo>
                    <a:cubicBezTo>
                      <a:pt x="1325" y="455"/>
                      <a:pt x="1325" y="455"/>
                      <a:pt x="1325" y="454"/>
                    </a:cubicBezTo>
                    <a:cubicBezTo>
                      <a:pt x="1323" y="453"/>
                      <a:pt x="1321" y="451"/>
                      <a:pt x="1319" y="449"/>
                    </a:cubicBezTo>
                    <a:cubicBezTo>
                      <a:pt x="1319" y="449"/>
                      <a:pt x="1318" y="448"/>
                      <a:pt x="1317" y="448"/>
                    </a:cubicBezTo>
                    <a:cubicBezTo>
                      <a:pt x="1317" y="447"/>
                      <a:pt x="1317" y="447"/>
                      <a:pt x="1317" y="447"/>
                    </a:cubicBezTo>
                    <a:cubicBezTo>
                      <a:pt x="1314" y="445"/>
                      <a:pt x="1312" y="443"/>
                      <a:pt x="1310" y="441"/>
                    </a:cubicBezTo>
                    <a:cubicBezTo>
                      <a:pt x="1309" y="441"/>
                      <a:pt x="1309" y="440"/>
                      <a:pt x="1309" y="440"/>
                    </a:cubicBezTo>
                    <a:cubicBezTo>
                      <a:pt x="1306" y="438"/>
                      <a:pt x="1304" y="436"/>
                      <a:pt x="1301" y="434"/>
                    </a:cubicBezTo>
                    <a:cubicBezTo>
                      <a:pt x="1301" y="434"/>
                      <a:pt x="1301" y="434"/>
                      <a:pt x="1301" y="434"/>
                    </a:cubicBezTo>
                    <a:cubicBezTo>
                      <a:pt x="1301" y="431"/>
                      <a:pt x="1302" y="428"/>
                      <a:pt x="1302" y="425"/>
                    </a:cubicBezTo>
                    <a:cubicBezTo>
                      <a:pt x="1302" y="424"/>
                      <a:pt x="1302" y="424"/>
                      <a:pt x="1302" y="423"/>
                    </a:cubicBezTo>
                    <a:cubicBezTo>
                      <a:pt x="1303" y="421"/>
                      <a:pt x="1303" y="418"/>
                      <a:pt x="1303" y="415"/>
                    </a:cubicBezTo>
                    <a:cubicBezTo>
                      <a:pt x="1303" y="414"/>
                      <a:pt x="1304" y="412"/>
                      <a:pt x="1304" y="411"/>
                    </a:cubicBezTo>
                    <a:cubicBezTo>
                      <a:pt x="1304" y="409"/>
                      <a:pt x="1304" y="407"/>
                      <a:pt x="1304" y="405"/>
                    </a:cubicBezTo>
                    <a:cubicBezTo>
                      <a:pt x="1304" y="401"/>
                      <a:pt x="1304" y="398"/>
                      <a:pt x="1304" y="394"/>
                    </a:cubicBezTo>
                    <a:cubicBezTo>
                      <a:pt x="1304" y="394"/>
                      <a:pt x="1304" y="394"/>
                      <a:pt x="1304" y="394"/>
                    </a:cubicBezTo>
                    <a:cubicBezTo>
                      <a:pt x="1304" y="333"/>
                      <a:pt x="1281" y="279"/>
                      <a:pt x="1244" y="237"/>
                    </a:cubicBezTo>
                    <a:cubicBezTo>
                      <a:pt x="1241" y="234"/>
                      <a:pt x="1239" y="232"/>
                      <a:pt x="1236" y="229"/>
                    </a:cubicBezTo>
                    <a:cubicBezTo>
                      <a:pt x="1233" y="226"/>
                      <a:pt x="1230" y="223"/>
                      <a:pt x="1227" y="220"/>
                    </a:cubicBezTo>
                    <a:cubicBezTo>
                      <a:pt x="1219" y="213"/>
                      <a:pt x="1211" y="207"/>
                      <a:pt x="1202" y="201"/>
                    </a:cubicBezTo>
                    <a:cubicBezTo>
                      <a:pt x="1195" y="197"/>
                      <a:pt x="1189" y="194"/>
                      <a:pt x="1182" y="190"/>
                    </a:cubicBezTo>
                    <a:cubicBezTo>
                      <a:pt x="1166" y="181"/>
                      <a:pt x="1148" y="174"/>
                      <a:pt x="1130" y="169"/>
                    </a:cubicBezTo>
                    <a:cubicBezTo>
                      <a:pt x="1122" y="167"/>
                      <a:pt x="1115" y="166"/>
                      <a:pt x="1107" y="164"/>
                    </a:cubicBezTo>
                    <a:cubicBezTo>
                      <a:pt x="1095" y="163"/>
                      <a:pt x="1083" y="162"/>
                      <a:pt x="1071" y="162"/>
                    </a:cubicBezTo>
                    <a:cubicBezTo>
                      <a:pt x="1067" y="162"/>
                      <a:pt x="1063" y="162"/>
                      <a:pt x="1059" y="162"/>
                    </a:cubicBezTo>
                    <a:cubicBezTo>
                      <a:pt x="1058" y="162"/>
                      <a:pt x="1058" y="162"/>
                      <a:pt x="1058" y="162"/>
                    </a:cubicBezTo>
                    <a:cubicBezTo>
                      <a:pt x="1054" y="162"/>
                      <a:pt x="1051" y="163"/>
                      <a:pt x="1047" y="163"/>
                    </a:cubicBezTo>
                    <a:cubicBezTo>
                      <a:pt x="1047" y="163"/>
                      <a:pt x="1047" y="163"/>
                      <a:pt x="1047" y="163"/>
                    </a:cubicBezTo>
                    <a:cubicBezTo>
                      <a:pt x="1039" y="164"/>
                      <a:pt x="1031" y="165"/>
                      <a:pt x="1024" y="167"/>
                    </a:cubicBezTo>
                    <a:cubicBezTo>
                      <a:pt x="1024" y="167"/>
                      <a:pt x="1024" y="167"/>
                      <a:pt x="1024" y="167"/>
                    </a:cubicBezTo>
                    <a:cubicBezTo>
                      <a:pt x="1019" y="152"/>
                      <a:pt x="1013" y="137"/>
                      <a:pt x="1006" y="124"/>
                    </a:cubicBezTo>
                    <a:cubicBezTo>
                      <a:pt x="1006" y="124"/>
                      <a:pt x="1006" y="124"/>
                      <a:pt x="1006" y="124"/>
                    </a:cubicBezTo>
                    <a:cubicBezTo>
                      <a:pt x="1003" y="120"/>
                      <a:pt x="1001" y="116"/>
                      <a:pt x="998" y="112"/>
                    </a:cubicBezTo>
                    <a:cubicBezTo>
                      <a:pt x="994" y="105"/>
                      <a:pt x="989" y="99"/>
                      <a:pt x="984" y="93"/>
                    </a:cubicBezTo>
                    <a:cubicBezTo>
                      <a:pt x="983" y="92"/>
                      <a:pt x="983" y="92"/>
                      <a:pt x="983" y="92"/>
                    </a:cubicBezTo>
                    <a:cubicBezTo>
                      <a:pt x="982" y="91"/>
                      <a:pt x="980" y="89"/>
                      <a:pt x="979" y="87"/>
                    </a:cubicBezTo>
                    <a:cubicBezTo>
                      <a:pt x="978" y="87"/>
                      <a:pt x="978" y="87"/>
                      <a:pt x="978" y="86"/>
                    </a:cubicBezTo>
                    <a:cubicBezTo>
                      <a:pt x="976" y="85"/>
                      <a:pt x="975" y="83"/>
                      <a:pt x="973" y="82"/>
                    </a:cubicBezTo>
                    <a:cubicBezTo>
                      <a:pt x="973" y="81"/>
                      <a:pt x="973" y="81"/>
                      <a:pt x="972" y="81"/>
                    </a:cubicBezTo>
                    <a:cubicBezTo>
                      <a:pt x="967" y="76"/>
                      <a:pt x="962" y="72"/>
                      <a:pt x="957" y="68"/>
                    </a:cubicBezTo>
                    <a:cubicBezTo>
                      <a:pt x="956" y="67"/>
                      <a:pt x="956" y="67"/>
                      <a:pt x="955" y="66"/>
                    </a:cubicBezTo>
                    <a:cubicBezTo>
                      <a:pt x="954" y="65"/>
                      <a:pt x="952" y="64"/>
                      <a:pt x="951" y="63"/>
                    </a:cubicBezTo>
                    <a:cubicBezTo>
                      <a:pt x="950" y="62"/>
                      <a:pt x="949" y="62"/>
                      <a:pt x="948" y="61"/>
                    </a:cubicBezTo>
                    <a:cubicBezTo>
                      <a:pt x="947" y="60"/>
                      <a:pt x="945" y="59"/>
                      <a:pt x="944" y="58"/>
                    </a:cubicBezTo>
                    <a:cubicBezTo>
                      <a:pt x="943" y="58"/>
                      <a:pt x="942" y="57"/>
                      <a:pt x="941" y="56"/>
                    </a:cubicBezTo>
                    <a:cubicBezTo>
                      <a:pt x="940" y="55"/>
                      <a:pt x="938" y="55"/>
                      <a:pt x="937" y="54"/>
                    </a:cubicBezTo>
                    <a:cubicBezTo>
                      <a:pt x="936" y="53"/>
                      <a:pt x="935" y="52"/>
                      <a:pt x="933" y="52"/>
                    </a:cubicBezTo>
                    <a:cubicBezTo>
                      <a:pt x="932" y="51"/>
                      <a:pt x="930" y="50"/>
                      <a:pt x="928" y="49"/>
                    </a:cubicBezTo>
                    <a:cubicBezTo>
                      <a:pt x="926" y="48"/>
                      <a:pt x="925" y="47"/>
                      <a:pt x="923" y="46"/>
                    </a:cubicBezTo>
                    <a:cubicBezTo>
                      <a:pt x="921" y="45"/>
                      <a:pt x="920" y="45"/>
                      <a:pt x="919" y="44"/>
                    </a:cubicBezTo>
                    <a:cubicBezTo>
                      <a:pt x="918" y="44"/>
                      <a:pt x="916" y="43"/>
                      <a:pt x="915" y="42"/>
                    </a:cubicBezTo>
                    <a:cubicBezTo>
                      <a:pt x="914" y="42"/>
                      <a:pt x="912" y="41"/>
                      <a:pt x="911" y="41"/>
                    </a:cubicBezTo>
                    <a:cubicBezTo>
                      <a:pt x="910" y="40"/>
                      <a:pt x="908" y="40"/>
                      <a:pt x="907" y="39"/>
                    </a:cubicBezTo>
                    <a:cubicBezTo>
                      <a:pt x="905" y="39"/>
                      <a:pt x="904" y="38"/>
                      <a:pt x="903" y="38"/>
                    </a:cubicBezTo>
                    <a:cubicBezTo>
                      <a:pt x="901" y="37"/>
                      <a:pt x="900" y="37"/>
                      <a:pt x="898" y="36"/>
                    </a:cubicBezTo>
                    <a:cubicBezTo>
                      <a:pt x="897" y="36"/>
                      <a:pt x="896" y="35"/>
                      <a:pt x="895" y="35"/>
                    </a:cubicBezTo>
                    <a:cubicBezTo>
                      <a:pt x="893" y="34"/>
                      <a:pt x="890" y="34"/>
                      <a:pt x="888" y="33"/>
                    </a:cubicBezTo>
                    <a:cubicBezTo>
                      <a:pt x="888" y="33"/>
                      <a:pt x="887" y="33"/>
                      <a:pt x="886" y="33"/>
                    </a:cubicBezTo>
                    <a:cubicBezTo>
                      <a:pt x="884" y="32"/>
                      <a:pt x="881" y="31"/>
                      <a:pt x="878" y="31"/>
                    </a:cubicBezTo>
                    <a:cubicBezTo>
                      <a:pt x="877" y="30"/>
                      <a:pt x="876" y="30"/>
                      <a:pt x="875" y="30"/>
                    </a:cubicBezTo>
                    <a:cubicBezTo>
                      <a:pt x="873" y="30"/>
                      <a:pt x="871" y="29"/>
                      <a:pt x="869" y="29"/>
                    </a:cubicBezTo>
                    <a:cubicBezTo>
                      <a:pt x="868" y="29"/>
                      <a:pt x="867" y="29"/>
                      <a:pt x="866" y="29"/>
                    </a:cubicBezTo>
                    <a:cubicBezTo>
                      <a:pt x="864" y="28"/>
                      <a:pt x="862" y="28"/>
                      <a:pt x="860" y="28"/>
                    </a:cubicBezTo>
                    <a:cubicBezTo>
                      <a:pt x="859" y="28"/>
                      <a:pt x="858" y="28"/>
                      <a:pt x="857" y="28"/>
                    </a:cubicBezTo>
                    <a:cubicBezTo>
                      <a:pt x="855" y="27"/>
                      <a:pt x="853" y="27"/>
                      <a:pt x="851" y="27"/>
                    </a:cubicBezTo>
                    <a:cubicBezTo>
                      <a:pt x="850" y="27"/>
                      <a:pt x="849" y="27"/>
                      <a:pt x="848" y="27"/>
                    </a:cubicBezTo>
                    <a:cubicBezTo>
                      <a:pt x="845" y="27"/>
                      <a:pt x="842" y="27"/>
                      <a:pt x="838" y="27"/>
                    </a:cubicBezTo>
                    <a:cubicBezTo>
                      <a:pt x="835" y="27"/>
                      <a:pt x="832" y="27"/>
                      <a:pt x="828" y="27"/>
                    </a:cubicBezTo>
                    <a:cubicBezTo>
                      <a:pt x="827" y="27"/>
                      <a:pt x="826" y="27"/>
                      <a:pt x="826" y="27"/>
                    </a:cubicBezTo>
                    <a:cubicBezTo>
                      <a:pt x="823" y="27"/>
                      <a:pt x="821" y="27"/>
                      <a:pt x="818" y="28"/>
                    </a:cubicBezTo>
                    <a:cubicBezTo>
                      <a:pt x="817" y="28"/>
                      <a:pt x="816" y="28"/>
                      <a:pt x="815" y="28"/>
                    </a:cubicBezTo>
                    <a:cubicBezTo>
                      <a:pt x="813" y="28"/>
                      <a:pt x="811" y="29"/>
                      <a:pt x="809" y="29"/>
                    </a:cubicBezTo>
                    <a:cubicBezTo>
                      <a:pt x="808" y="29"/>
                      <a:pt x="807" y="29"/>
                      <a:pt x="806" y="29"/>
                    </a:cubicBezTo>
                    <a:cubicBezTo>
                      <a:pt x="803" y="30"/>
                      <a:pt x="801" y="30"/>
                      <a:pt x="799" y="31"/>
                    </a:cubicBezTo>
                    <a:cubicBezTo>
                      <a:pt x="798" y="31"/>
                      <a:pt x="797" y="31"/>
                      <a:pt x="796" y="31"/>
                    </a:cubicBezTo>
                    <a:cubicBezTo>
                      <a:pt x="794" y="32"/>
                      <a:pt x="792" y="32"/>
                      <a:pt x="789" y="33"/>
                    </a:cubicBezTo>
                    <a:cubicBezTo>
                      <a:pt x="789" y="33"/>
                      <a:pt x="788" y="33"/>
                      <a:pt x="787" y="34"/>
                    </a:cubicBezTo>
                    <a:cubicBezTo>
                      <a:pt x="785" y="34"/>
                      <a:pt x="782" y="35"/>
                      <a:pt x="780" y="36"/>
                    </a:cubicBezTo>
                    <a:cubicBezTo>
                      <a:pt x="779" y="36"/>
                      <a:pt x="779" y="36"/>
                      <a:pt x="778" y="36"/>
                    </a:cubicBezTo>
                    <a:cubicBezTo>
                      <a:pt x="776" y="37"/>
                      <a:pt x="773" y="38"/>
                      <a:pt x="771" y="39"/>
                    </a:cubicBezTo>
                    <a:cubicBezTo>
                      <a:pt x="770" y="39"/>
                      <a:pt x="770" y="39"/>
                      <a:pt x="769" y="39"/>
                    </a:cubicBezTo>
                    <a:cubicBezTo>
                      <a:pt x="767" y="40"/>
                      <a:pt x="764" y="41"/>
                      <a:pt x="762" y="42"/>
                    </a:cubicBezTo>
                    <a:cubicBezTo>
                      <a:pt x="762" y="43"/>
                      <a:pt x="761" y="43"/>
                      <a:pt x="761" y="43"/>
                    </a:cubicBezTo>
                    <a:cubicBezTo>
                      <a:pt x="758" y="44"/>
                      <a:pt x="756" y="45"/>
                      <a:pt x="753" y="46"/>
                    </a:cubicBezTo>
                    <a:cubicBezTo>
                      <a:pt x="753" y="47"/>
                      <a:pt x="753" y="47"/>
                      <a:pt x="752" y="47"/>
                    </a:cubicBezTo>
                    <a:cubicBezTo>
                      <a:pt x="750" y="48"/>
                      <a:pt x="747" y="50"/>
                      <a:pt x="745" y="51"/>
                    </a:cubicBezTo>
                    <a:cubicBezTo>
                      <a:pt x="744" y="51"/>
                      <a:pt x="744" y="51"/>
                      <a:pt x="744" y="51"/>
                    </a:cubicBezTo>
                    <a:cubicBezTo>
                      <a:pt x="741" y="53"/>
                      <a:pt x="739" y="54"/>
                      <a:pt x="737" y="56"/>
                    </a:cubicBezTo>
                    <a:cubicBezTo>
                      <a:pt x="736" y="56"/>
                      <a:pt x="736" y="56"/>
                      <a:pt x="736" y="56"/>
                    </a:cubicBezTo>
                    <a:cubicBezTo>
                      <a:pt x="733" y="58"/>
                      <a:pt x="731" y="59"/>
                      <a:pt x="729" y="61"/>
                    </a:cubicBezTo>
                    <a:cubicBezTo>
                      <a:pt x="728" y="61"/>
                      <a:pt x="728" y="61"/>
                      <a:pt x="728" y="61"/>
                    </a:cubicBezTo>
                    <a:cubicBezTo>
                      <a:pt x="726" y="63"/>
                      <a:pt x="723" y="65"/>
                      <a:pt x="721" y="67"/>
                    </a:cubicBezTo>
                    <a:cubicBezTo>
                      <a:pt x="721" y="67"/>
                      <a:pt x="721" y="67"/>
                      <a:pt x="721" y="67"/>
                    </a:cubicBezTo>
                    <a:cubicBezTo>
                      <a:pt x="718" y="69"/>
                      <a:pt x="716" y="71"/>
                      <a:pt x="713" y="73"/>
                    </a:cubicBezTo>
                    <a:cubicBezTo>
                      <a:pt x="713" y="73"/>
                      <a:pt x="713" y="73"/>
                      <a:pt x="713" y="73"/>
                    </a:cubicBezTo>
                    <a:cubicBezTo>
                      <a:pt x="709" y="77"/>
                      <a:pt x="704" y="81"/>
                      <a:pt x="700" y="86"/>
                    </a:cubicBezTo>
                    <a:cubicBezTo>
                      <a:pt x="700" y="86"/>
                      <a:pt x="700" y="86"/>
                      <a:pt x="700" y="86"/>
                    </a:cubicBezTo>
                    <a:cubicBezTo>
                      <a:pt x="699" y="86"/>
                      <a:pt x="699" y="86"/>
                      <a:pt x="699" y="86"/>
                    </a:cubicBezTo>
                    <a:cubicBezTo>
                      <a:pt x="689" y="75"/>
                      <a:pt x="678" y="65"/>
                      <a:pt x="666" y="56"/>
                    </a:cubicBezTo>
                    <a:cubicBezTo>
                      <a:pt x="663" y="54"/>
                      <a:pt x="660" y="52"/>
                      <a:pt x="657" y="50"/>
                    </a:cubicBezTo>
                    <a:cubicBezTo>
                      <a:pt x="656" y="49"/>
                      <a:pt x="655" y="49"/>
                      <a:pt x="655" y="48"/>
                    </a:cubicBezTo>
                    <a:cubicBezTo>
                      <a:pt x="654" y="48"/>
                      <a:pt x="654" y="48"/>
                      <a:pt x="653" y="47"/>
                    </a:cubicBezTo>
                    <a:cubicBezTo>
                      <a:pt x="651" y="46"/>
                      <a:pt x="649" y="45"/>
                      <a:pt x="648" y="44"/>
                    </a:cubicBezTo>
                    <a:cubicBezTo>
                      <a:pt x="641" y="40"/>
                      <a:pt x="635" y="36"/>
                      <a:pt x="628" y="32"/>
                    </a:cubicBezTo>
                    <a:cubicBezTo>
                      <a:pt x="628" y="32"/>
                      <a:pt x="628" y="32"/>
                      <a:pt x="628" y="32"/>
                    </a:cubicBezTo>
                    <a:cubicBezTo>
                      <a:pt x="625" y="31"/>
                      <a:pt x="622" y="29"/>
                      <a:pt x="619" y="28"/>
                    </a:cubicBezTo>
                    <a:cubicBezTo>
                      <a:pt x="619" y="28"/>
                      <a:pt x="618" y="28"/>
                      <a:pt x="618" y="27"/>
                    </a:cubicBezTo>
                    <a:cubicBezTo>
                      <a:pt x="618" y="27"/>
                      <a:pt x="617" y="27"/>
                      <a:pt x="616" y="27"/>
                    </a:cubicBezTo>
                    <a:cubicBezTo>
                      <a:pt x="614" y="26"/>
                      <a:pt x="612" y="25"/>
                      <a:pt x="609" y="24"/>
                    </a:cubicBezTo>
                    <a:cubicBezTo>
                      <a:pt x="609" y="23"/>
                      <a:pt x="608" y="23"/>
                      <a:pt x="607" y="22"/>
                    </a:cubicBezTo>
                    <a:cubicBezTo>
                      <a:pt x="604" y="21"/>
                      <a:pt x="600" y="20"/>
                      <a:pt x="597" y="19"/>
                    </a:cubicBezTo>
                    <a:cubicBezTo>
                      <a:pt x="594" y="17"/>
                      <a:pt x="591" y="16"/>
                      <a:pt x="588" y="15"/>
                    </a:cubicBezTo>
                    <a:cubicBezTo>
                      <a:pt x="587" y="15"/>
                      <a:pt x="586" y="14"/>
                      <a:pt x="585" y="14"/>
                    </a:cubicBezTo>
                    <a:cubicBezTo>
                      <a:pt x="582" y="13"/>
                      <a:pt x="580" y="13"/>
                      <a:pt x="577" y="12"/>
                    </a:cubicBezTo>
                    <a:cubicBezTo>
                      <a:pt x="577" y="12"/>
                      <a:pt x="576" y="11"/>
                      <a:pt x="575" y="11"/>
                    </a:cubicBezTo>
                    <a:cubicBezTo>
                      <a:pt x="568" y="9"/>
                      <a:pt x="561" y="7"/>
                      <a:pt x="554" y="6"/>
                    </a:cubicBezTo>
                    <a:cubicBezTo>
                      <a:pt x="553" y="6"/>
                      <a:pt x="552" y="6"/>
                      <a:pt x="551" y="5"/>
                    </a:cubicBezTo>
                    <a:cubicBezTo>
                      <a:pt x="549" y="5"/>
                      <a:pt x="546" y="4"/>
                      <a:pt x="544" y="4"/>
                    </a:cubicBezTo>
                    <a:cubicBezTo>
                      <a:pt x="543" y="4"/>
                      <a:pt x="542" y="4"/>
                      <a:pt x="541" y="3"/>
                    </a:cubicBezTo>
                    <a:cubicBezTo>
                      <a:pt x="534" y="2"/>
                      <a:pt x="527" y="1"/>
                      <a:pt x="520" y="1"/>
                    </a:cubicBezTo>
                    <a:cubicBezTo>
                      <a:pt x="519" y="1"/>
                      <a:pt x="518" y="1"/>
                      <a:pt x="517" y="1"/>
                    </a:cubicBezTo>
                    <a:cubicBezTo>
                      <a:pt x="514" y="0"/>
                      <a:pt x="511" y="0"/>
                      <a:pt x="509" y="0"/>
                    </a:cubicBezTo>
                    <a:cubicBezTo>
                      <a:pt x="508" y="0"/>
                      <a:pt x="507" y="0"/>
                      <a:pt x="506" y="0"/>
                    </a:cubicBezTo>
                    <a:cubicBezTo>
                      <a:pt x="502" y="0"/>
                      <a:pt x="498" y="0"/>
                      <a:pt x="495" y="0"/>
                    </a:cubicBezTo>
                    <a:cubicBezTo>
                      <a:pt x="495" y="0"/>
                      <a:pt x="495" y="0"/>
                      <a:pt x="495" y="0"/>
                    </a:cubicBezTo>
                    <a:cubicBezTo>
                      <a:pt x="495" y="0"/>
                      <a:pt x="495" y="0"/>
                      <a:pt x="495" y="0"/>
                    </a:cubicBezTo>
                    <a:cubicBezTo>
                      <a:pt x="490" y="0"/>
                      <a:pt x="485" y="0"/>
                      <a:pt x="480" y="0"/>
                    </a:cubicBezTo>
                    <a:cubicBezTo>
                      <a:pt x="478" y="0"/>
                      <a:pt x="476" y="0"/>
                      <a:pt x="475" y="0"/>
                    </a:cubicBezTo>
                    <a:cubicBezTo>
                      <a:pt x="471" y="1"/>
                      <a:pt x="468" y="1"/>
                      <a:pt x="465" y="1"/>
                    </a:cubicBezTo>
                    <a:cubicBezTo>
                      <a:pt x="463" y="1"/>
                      <a:pt x="461" y="2"/>
                      <a:pt x="459" y="2"/>
                    </a:cubicBezTo>
                    <a:cubicBezTo>
                      <a:pt x="456" y="2"/>
                      <a:pt x="453" y="3"/>
                      <a:pt x="450" y="3"/>
                    </a:cubicBezTo>
                    <a:cubicBezTo>
                      <a:pt x="448" y="3"/>
                      <a:pt x="446" y="4"/>
                      <a:pt x="444" y="4"/>
                    </a:cubicBezTo>
                    <a:cubicBezTo>
                      <a:pt x="441" y="5"/>
                      <a:pt x="439" y="5"/>
                      <a:pt x="436" y="6"/>
                    </a:cubicBezTo>
                    <a:cubicBezTo>
                      <a:pt x="434" y="6"/>
                      <a:pt x="432" y="7"/>
                      <a:pt x="430" y="7"/>
                    </a:cubicBezTo>
                    <a:cubicBezTo>
                      <a:pt x="427" y="8"/>
                      <a:pt x="424" y="8"/>
                      <a:pt x="422" y="9"/>
                    </a:cubicBezTo>
                    <a:cubicBezTo>
                      <a:pt x="420" y="10"/>
                      <a:pt x="418" y="10"/>
                      <a:pt x="415" y="11"/>
                    </a:cubicBezTo>
                    <a:cubicBezTo>
                      <a:pt x="413" y="12"/>
                      <a:pt x="410" y="12"/>
                      <a:pt x="408" y="13"/>
                    </a:cubicBezTo>
                    <a:cubicBezTo>
                      <a:pt x="406" y="14"/>
                      <a:pt x="404" y="15"/>
                      <a:pt x="402" y="15"/>
                    </a:cubicBezTo>
                    <a:cubicBezTo>
                      <a:pt x="399" y="16"/>
                      <a:pt x="397" y="17"/>
                      <a:pt x="394" y="18"/>
                    </a:cubicBezTo>
                    <a:cubicBezTo>
                      <a:pt x="392" y="19"/>
                      <a:pt x="390" y="19"/>
                      <a:pt x="388" y="20"/>
                    </a:cubicBezTo>
                    <a:cubicBezTo>
                      <a:pt x="386" y="21"/>
                      <a:pt x="383" y="22"/>
                      <a:pt x="381" y="23"/>
                    </a:cubicBezTo>
                    <a:cubicBezTo>
                      <a:pt x="379" y="24"/>
                      <a:pt x="377" y="25"/>
                      <a:pt x="375" y="26"/>
                    </a:cubicBezTo>
                    <a:cubicBezTo>
                      <a:pt x="373" y="27"/>
                      <a:pt x="370" y="28"/>
                      <a:pt x="368" y="29"/>
                    </a:cubicBezTo>
                    <a:cubicBezTo>
                      <a:pt x="366" y="30"/>
                      <a:pt x="364" y="31"/>
                      <a:pt x="362" y="32"/>
                    </a:cubicBezTo>
                    <a:cubicBezTo>
                      <a:pt x="360" y="33"/>
                      <a:pt x="358" y="35"/>
                      <a:pt x="356" y="36"/>
                    </a:cubicBezTo>
                    <a:cubicBezTo>
                      <a:pt x="354" y="37"/>
                      <a:pt x="352" y="38"/>
                      <a:pt x="350" y="39"/>
                    </a:cubicBezTo>
                    <a:cubicBezTo>
                      <a:pt x="349" y="40"/>
                      <a:pt x="348" y="40"/>
                      <a:pt x="348" y="40"/>
                    </a:cubicBezTo>
                    <a:cubicBezTo>
                      <a:pt x="346" y="41"/>
                      <a:pt x="345" y="42"/>
                      <a:pt x="343" y="43"/>
                    </a:cubicBezTo>
                    <a:cubicBezTo>
                      <a:pt x="342" y="44"/>
                      <a:pt x="340" y="45"/>
                      <a:pt x="338" y="46"/>
                    </a:cubicBezTo>
                    <a:cubicBezTo>
                      <a:pt x="338" y="46"/>
                      <a:pt x="338" y="46"/>
                      <a:pt x="338" y="46"/>
                    </a:cubicBezTo>
                    <a:cubicBezTo>
                      <a:pt x="337" y="47"/>
                      <a:pt x="336" y="48"/>
                      <a:pt x="334" y="49"/>
                    </a:cubicBezTo>
                    <a:cubicBezTo>
                      <a:pt x="333" y="50"/>
                      <a:pt x="332" y="50"/>
                      <a:pt x="332" y="51"/>
                    </a:cubicBezTo>
                    <a:cubicBezTo>
                      <a:pt x="330" y="52"/>
                      <a:pt x="328" y="53"/>
                      <a:pt x="327" y="54"/>
                    </a:cubicBezTo>
                    <a:cubicBezTo>
                      <a:pt x="326" y="55"/>
                      <a:pt x="326" y="55"/>
                      <a:pt x="325" y="56"/>
                    </a:cubicBezTo>
                    <a:cubicBezTo>
                      <a:pt x="323" y="57"/>
                      <a:pt x="322" y="58"/>
                      <a:pt x="320" y="59"/>
                    </a:cubicBezTo>
                    <a:cubicBezTo>
                      <a:pt x="319" y="61"/>
                      <a:pt x="317" y="62"/>
                      <a:pt x="315" y="63"/>
                    </a:cubicBezTo>
                    <a:cubicBezTo>
                      <a:pt x="313" y="65"/>
                      <a:pt x="311" y="67"/>
                      <a:pt x="309" y="68"/>
                    </a:cubicBezTo>
                    <a:cubicBezTo>
                      <a:pt x="308" y="70"/>
                      <a:pt x="306" y="71"/>
                      <a:pt x="305" y="72"/>
                    </a:cubicBezTo>
                    <a:cubicBezTo>
                      <a:pt x="302" y="74"/>
                      <a:pt x="300" y="76"/>
                      <a:pt x="298" y="78"/>
                    </a:cubicBezTo>
                    <a:cubicBezTo>
                      <a:pt x="297" y="80"/>
                      <a:pt x="296" y="81"/>
                      <a:pt x="295" y="82"/>
                    </a:cubicBezTo>
                    <a:cubicBezTo>
                      <a:pt x="294" y="82"/>
                      <a:pt x="294" y="82"/>
                      <a:pt x="294" y="82"/>
                    </a:cubicBezTo>
                    <a:cubicBezTo>
                      <a:pt x="291" y="85"/>
                      <a:pt x="288" y="88"/>
                      <a:pt x="285" y="92"/>
                    </a:cubicBezTo>
                    <a:cubicBezTo>
                      <a:pt x="282" y="95"/>
                      <a:pt x="279" y="98"/>
                      <a:pt x="276" y="102"/>
                    </a:cubicBezTo>
                    <a:cubicBezTo>
                      <a:pt x="273" y="106"/>
                      <a:pt x="269" y="110"/>
                      <a:pt x="266" y="114"/>
                    </a:cubicBezTo>
                    <a:cubicBezTo>
                      <a:pt x="264" y="117"/>
                      <a:pt x="262" y="120"/>
                      <a:pt x="260" y="123"/>
                    </a:cubicBezTo>
                    <a:cubicBezTo>
                      <a:pt x="260" y="123"/>
                      <a:pt x="260" y="123"/>
                      <a:pt x="260" y="124"/>
                    </a:cubicBezTo>
                    <a:cubicBezTo>
                      <a:pt x="257" y="127"/>
                      <a:pt x="255" y="130"/>
                      <a:pt x="253" y="134"/>
                    </a:cubicBezTo>
                    <a:cubicBezTo>
                      <a:pt x="252" y="135"/>
                      <a:pt x="252" y="136"/>
                      <a:pt x="251" y="137"/>
                    </a:cubicBezTo>
                    <a:cubicBezTo>
                      <a:pt x="249" y="139"/>
                      <a:pt x="248" y="142"/>
                      <a:pt x="246" y="145"/>
                    </a:cubicBezTo>
                    <a:cubicBezTo>
                      <a:pt x="246" y="146"/>
                      <a:pt x="245" y="147"/>
                      <a:pt x="245" y="148"/>
                    </a:cubicBezTo>
                    <a:cubicBezTo>
                      <a:pt x="243" y="151"/>
                      <a:pt x="241" y="155"/>
                      <a:pt x="239" y="159"/>
                    </a:cubicBezTo>
                    <a:cubicBezTo>
                      <a:pt x="237" y="162"/>
                      <a:pt x="236" y="166"/>
                      <a:pt x="234" y="170"/>
                    </a:cubicBezTo>
                    <a:cubicBezTo>
                      <a:pt x="234" y="170"/>
                      <a:pt x="234" y="170"/>
                      <a:pt x="234" y="170"/>
                    </a:cubicBezTo>
                    <a:cubicBezTo>
                      <a:pt x="233" y="171"/>
                      <a:pt x="233" y="172"/>
                      <a:pt x="233" y="173"/>
                    </a:cubicBezTo>
                    <a:cubicBezTo>
                      <a:pt x="233" y="173"/>
                      <a:pt x="233" y="173"/>
                      <a:pt x="233" y="173"/>
                    </a:cubicBezTo>
                    <a:cubicBezTo>
                      <a:pt x="231" y="176"/>
                      <a:pt x="230" y="179"/>
                      <a:pt x="229" y="182"/>
                    </a:cubicBezTo>
                    <a:cubicBezTo>
                      <a:pt x="229" y="182"/>
                      <a:pt x="229" y="182"/>
                      <a:pt x="229" y="182"/>
                    </a:cubicBezTo>
                    <a:cubicBezTo>
                      <a:pt x="229" y="183"/>
                      <a:pt x="229" y="183"/>
                      <a:pt x="229" y="183"/>
                    </a:cubicBezTo>
                    <a:cubicBezTo>
                      <a:pt x="228" y="184"/>
                      <a:pt x="228" y="185"/>
                      <a:pt x="228" y="185"/>
                    </a:cubicBezTo>
                    <a:cubicBezTo>
                      <a:pt x="226" y="189"/>
                      <a:pt x="225" y="193"/>
                      <a:pt x="224" y="197"/>
                    </a:cubicBezTo>
                    <a:cubicBezTo>
                      <a:pt x="223" y="200"/>
                      <a:pt x="221" y="204"/>
                      <a:pt x="220" y="208"/>
                    </a:cubicBezTo>
                    <a:cubicBezTo>
                      <a:pt x="220" y="208"/>
                      <a:pt x="220" y="208"/>
                      <a:pt x="220" y="208"/>
                    </a:cubicBezTo>
                    <a:cubicBezTo>
                      <a:pt x="220" y="209"/>
                      <a:pt x="220" y="209"/>
                      <a:pt x="220" y="209"/>
                    </a:cubicBezTo>
                    <a:cubicBezTo>
                      <a:pt x="220" y="210"/>
                      <a:pt x="220" y="211"/>
                      <a:pt x="219" y="212"/>
                    </a:cubicBezTo>
                    <a:cubicBezTo>
                      <a:pt x="219" y="215"/>
                      <a:pt x="218" y="218"/>
                      <a:pt x="217" y="221"/>
                    </a:cubicBezTo>
                    <a:cubicBezTo>
                      <a:pt x="217" y="221"/>
                      <a:pt x="217" y="221"/>
                      <a:pt x="217" y="221"/>
                    </a:cubicBezTo>
                    <a:cubicBezTo>
                      <a:pt x="217" y="222"/>
                      <a:pt x="217" y="223"/>
                      <a:pt x="217" y="224"/>
                    </a:cubicBezTo>
                    <a:cubicBezTo>
                      <a:pt x="217" y="224"/>
                      <a:pt x="217" y="224"/>
                      <a:pt x="217" y="224"/>
                    </a:cubicBezTo>
                    <a:cubicBezTo>
                      <a:pt x="216" y="228"/>
                      <a:pt x="215" y="233"/>
                      <a:pt x="214" y="237"/>
                    </a:cubicBezTo>
                    <a:cubicBezTo>
                      <a:pt x="214" y="241"/>
                      <a:pt x="213" y="245"/>
                      <a:pt x="213" y="249"/>
                    </a:cubicBezTo>
                    <a:cubicBezTo>
                      <a:pt x="213" y="249"/>
                      <a:pt x="213" y="249"/>
                      <a:pt x="213" y="249"/>
                    </a:cubicBezTo>
                    <a:cubicBezTo>
                      <a:pt x="213" y="251"/>
                      <a:pt x="212" y="252"/>
                      <a:pt x="212" y="253"/>
                    </a:cubicBezTo>
                    <a:cubicBezTo>
                      <a:pt x="212" y="253"/>
                      <a:pt x="212" y="253"/>
                      <a:pt x="212" y="253"/>
                    </a:cubicBezTo>
                    <a:cubicBezTo>
                      <a:pt x="212" y="256"/>
                      <a:pt x="212" y="259"/>
                      <a:pt x="212" y="263"/>
                    </a:cubicBezTo>
                    <a:cubicBezTo>
                      <a:pt x="212" y="264"/>
                      <a:pt x="211" y="265"/>
                      <a:pt x="211" y="266"/>
                    </a:cubicBezTo>
                    <a:cubicBezTo>
                      <a:pt x="211" y="271"/>
                      <a:pt x="211" y="275"/>
                      <a:pt x="211" y="279"/>
                    </a:cubicBezTo>
                    <a:cubicBezTo>
                      <a:pt x="211" y="282"/>
                      <a:pt x="211" y="284"/>
                      <a:pt x="211" y="287"/>
                    </a:cubicBezTo>
                    <a:cubicBezTo>
                      <a:pt x="211" y="288"/>
                      <a:pt x="211" y="288"/>
                      <a:pt x="211" y="288"/>
                    </a:cubicBezTo>
                    <a:cubicBezTo>
                      <a:pt x="211" y="291"/>
                      <a:pt x="211" y="294"/>
                      <a:pt x="212" y="297"/>
                    </a:cubicBezTo>
                    <a:cubicBezTo>
                      <a:pt x="212" y="298"/>
                      <a:pt x="212" y="298"/>
                      <a:pt x="212" y="299"/>
                    </a:cubicBezTo>
                    <a:cubicBezTo>
                      <a:pt x="212" y="300"/>
                      <a:pt x="212" y="301"/>
                      <a:pt x="212" y="301"/>
                    </a:cubicBezTo>
                    <a:cubicBezTo>
                      <a:pt x="212" y="303"/>
                      <a:pt x="212" y="306"/>
                      <a:pt x="212" y="308"/>
                    </a:cubicBezTo>
                    <a:cubicBezTo>
                      <a:pt x="212" y="308"/>
                      <a:pt x="212" y="308"/>
                      <a:pt x="212" y="308"/>
                    </a:cubicBezTo>
                    <a:cubicBezTo>
                      <a:pt x="209" y="309"/>
                      <a:pt x="206" y="309"/>
                      <a:pt x="202" y="310"/>
                    </a:cubicBezTo>
                    <a:cubicBezTo>
                      <a:pt x="199" y="311"/>
                      <a:pt x="196" y="311"/>
                      <a:pt x="192" y="312"/>
                    </a:cubicBezTo>
                    <a:cubicBezTo>
                      <a:pt x="192" y="312"/>
                      <a:pt x="192" y="312"/>
                      <a:pt x="192" y="312"/>
                    </a:cubicBezTo>
                    <a:cubicBezTo>
                      <a:pt x="192" y="312"/>
                      <a:pt x="192" y="312"/>
                      <a:pt x="192" y="312"/>
                    </a:cubicBezTo>
                    <a:cubicBezTo>
                      <a:pt x="191" y="313"/>
                      <a:pt x="189" y="313"/>
                      <a:pt x="187" y="313"/>
                    </a:cubicBezTo>
                    <a:cubicBezTo>
                      <a:pt x="187" y="313"/>
                      <a:pt x="187" y="313"/>
                      <a:pt x="187" y="313"/>
                    </a:cubicBezTo>
                    <a:cubicBezTo>
                      <a:pt x="187" y="313"/>
                      <a:pt x="187" y="313"/>
                      <a:pt x="187" y="313"/>
                    </a:cubicBezTo>
                    <a:cubicBezTo>
                      <a:pt x="184" y="314"/>
                      <a:pt x="180" y="315"/>
                      <a:pt x="177" y="316"/>
                    </a:cubicBezTo>
                    <a:cubicBezTo>
                      <a:pt x="176" y="316"/>
                      <a:pt x="175" y="317"/>
                      <a:pt x="174" y="317"/>
                    </a:cubicBezTo>
                    <a:cubicBezTo>
                      <a:pt x="173" y="317"/>
                      <a:pt x="173" y="317"/>
                      <a:pt x="172" y="318"/>
                    </a:cubicBezTo>
                    <a:cubicBezTo>
                      <a:pt x="171" y="318"/>
                      <a:pt x="170" y="318"/>
                      <a:pt x="169" y="319"/>
                    </a:cubicBezTo>
                    <a:cubicBezTo>
                      <a:pt x="166" y="320"/>
                      <a:pt x="163" y="321"/>
                      <a:pt x="160" y="322"/>
                    </a:cubicBezTo>
                    <a:cubicBezTo>
                      <a:pt x="158" y="322"/>
                      <a:pt x="157" y="323"/>
                      <a:pt x="156" y="323"/>
                    </a:cubicBezTo>
                    <a:cubicBezTo>
                      <a:pt x="151" y="325"/>
                      <a:pt x="147" y="327"/>
                      <a:pt x="143" y="329"/>
                    </a:cubicBezTo>
                    <a:cubicBezTo>
                      <a:pt x="143" y="329"/>
                      <a:pt x="143" y="329"/>
                      <a:pt x="143" y="329"/>
                    </a:cubicBezTo>
                    <a:cubicBezTo>
                      <a:pt x="143" y="329"/>
                      <a:pt x="143" y="329"/>
                      <a:pt x="143" y="329"/>
                    </a:cubicBezTo>
                    <a:cubicBezTo>
                      <a:pt x="140" y="330"/>
                      <a:pt x="137" y="332"/>
                      <a:pt x="133" y="334"/>
                    </a:cubicBezTo>
                    <a:cubicBezTo>
                      <a:pt x="133" y="334"/>
                      <a:pt x="133" y="334"/>
                      <a:pt x="133" y="334"/>
                    </a:cubicBezTo>
                    <a:cubicBezTo>
                      <a:pt x="130" y="335"/>
                      <a:pt x="127" y="337"/>
                      <a:pt x="124" y="339"/>
                    </a:cubicBezTo>
                    <a:cubicBezTo>
                      <a:pt x="124" y="339"/>
                      <a:pt x="124" y="339"/>
                      <a:pt x="124" y="339"/>
                    </a:cubicBezTo>
                    <a:cubicBezTo>
                      <a:pt x="124" y="339"/>
                      <a:pt x="124" y="339"/>
                      <a:pt x="124" y="339"/>
                    </a:cubicBezTo>
                    <a:cubicBezTo>
                      <a:pt x="120" y="341"/>
                      <a:pt x="117" y="343"/>
                      <a:pt x="113" y="345"/>
                    </a:cubicBezTo>
                    <a:cubicBezTo>
                      <a:pt x="113" y="345"/>
                      <a:pt x="113" y="345"/>
                      <a:pt x="113" y="345"/>
                    </a:cubicBezTo>
                    <a:cubicBezTo>
                      <a:pt x="110" y="347"/>
                      <a:pt x="106" y="350"/>
                      <a:pt x="103" y="352"/>
                    </a:cubicBezTo>
                    <a:cubicBezTo>
                      <a:pt x="103" y="352"/>
                      <a:pt x="103" y="352"/>
                      <a:pt x="103" y="352"/>
                    </a:cubicBezTo>
                    <a:cubicBezTo>
                      <a:pt x="103" y="352"/>
                      <a:pt x="103" y="352"/>
                      <a:pt x="103" y="352"/>
                    </a:cubicBezTo>
                    <a:cubicBezTo>
                      <a:pt x="101" y="353"/>
                      <a:pt x="100" y="354"/>
                      <a:pt x="99" y="355"/>
                    </a:cubicBezTo>
                    <a:cubicBezTo>
                      <a:pt x="99" y="355"/>
                      <a:pt x="99" y="355"/>
                      <a:pt x="99" y="355"/>
                    </a:cubicBezTo>
                    <a:cubicBezTo>
                      <a:pt x="99" y="355"/>
                      <a:pt x="99" y="355"/>
                      <a:pt x="99" y="355"/>
                    </a:cubicBezTo>
                    <a:cubicBezTo>
                      <a:pt x="95" y="358"/>
                      <a:pt x="92" y="361"/>
                      <a:pt x="88" y="364"/>
                    </a:cubicBezTo>
                    <a:cubicBezTo>
                      <a:pt x="88" y="364"/>
                      <a:pt x="88" y="365"/>
                      <a:pt x="87" y="365"/>
                    </a:cubicBezTo>
                    <a:cubicBezTo>
                      <a:pt x="84" y="368"/>
                      <a:pt x="80" y="371"/>
                      <a:pt x="77" y="374"/>
                    </a:cubicBezTo>
                    <a:cubicBezTo>
                      <a:pt x="77" y="374"/>
                      <a:pt x="77" y="374"/>
                      <a:pt x="77" y="374"/>
                    </a:cubicBezTo>
                    <a:cubicBezTo>
                      <a:pt x="77" y="374"/>
                      <a:pt x="77" y="374"/>
                      <a:pt x="77" y="374"/>
                    </a:cubicBezTo>
                    <a:cubicBezTo>
                      <a:pt x="76" y="375"/>
                      <a:pt x="76" y="375"/>
                      <a:pt x="76" y="375"/>
                    </a:cubicBezTo>
                    <a:cubicBezTo>
                      <a:pt x="76" y="375"/>
                      <a:pt x="76" y="375"/>
                      <a:pt x="76" y="375"/>
                    </a:cubicBezTo>
                    <a:cubicBezTo>
                      <a:pt x="74" y="377"/>
                      <a:pt x="72" y="379"/>
                      <a:pt x="70" y="381"/>
                    </a:cubicBezTo>
                    <a:cubicBezTo>
                      <a:pt x="68" y="383"/>
                      <a:pt x="66" y="385"/>
                      <a:pt x="65" y="387"/>
                    </a:cubicBezTo>
                    <a:cubicBezTo>
                      <a:pt x="65" y="387"/>
                      <a:pt x="65" y="387"/>
                      <a:pt x="65" y="387"/>
                    </a:cubicBezTo>
                    <a:cubicBezTo>
                      <a:pt x="65" y="387"/>
                      <a:pt x="65" y="387"/>
                      <a:pt x="65" y="387"/>
                    </a:cubicBezTo>
                    <a:cubicBezTo>
                      <a:pt x="62" y="389"/>
                      <a:pt x="60" y="392"/>
                      <a:pt x="58" y="394"/>
                    </a:cubicBezTo>
                    <a:cubicBezTo>
                      <a:pt x="58" y="394"/>
                      <a:pt x="58" y="394"/>
                      <a:pt x="58" y="394"/>
                    </a:cubicBezTo>
                    <a:cubicBezTo>
                      <a:pt x="58" y="394"/>
                      <a:pt x="58" y="394"/>
                      <a:pt x="58" y="394"/>
                    </a:cubicBezTo>
                    <a:cubicBezTo>
                      <a:pt x="56" y="396"/>
                      <a:pt x="54" y="398"/>
                      <a:pt x="53" y="400"/>
                    </a:cubicBezTo>
                    <a:cubicBezTo>
                      <a:pt x="51" y="403"/>
                      <a:pt x="49" y="405"/>
                      <a:pt x="47" y="407"/>
                    </a:cubicBezTo>
                    <a:cubicBezTo>
                      <a:pt x="43" y="413"/>
                      <a:pt x="39" y="419"/>
                      <a:pt x="35" y="425"/>
                    </a:cubicBezTo>
                    <a:cubicBezTo>
                      <a:pt x="34" y="428"/>
                      <a:pt x="32" y="430"/>
                      <a:pt x="31" y="433"/>
                    </a:cubicBezTo>
                    <a:cubicBezTo>
                      <a:pt x="30" y="434"/>
                      <a:pt x="29" y="436"/>
                      <a:pt x="28" y="438"/>
                    </a:cubicBezTo>
                    <a:cubicBezTo>
                      <a:pt x="28" y="438"/>
                      <a:pt x="28" y="438"/>
                      <a:pt x="28" y="438"/>
                    </a:cubicBezTo>
                    <a:cubicBezTo>
                      <a:pt x="28" y="438"/>
                      <a:pt x="28" y="438"/>
                      <a:pt x="28" y="438"/>
                    </a:cubicBezTo>
                    <a:cubicBezTo>
                      <a:pt x="27" y="441"/>
                      <a:pt x="25" y="444"/>
                      <a:pt x="24" y="447"/>
                    </a:cubicBezTo>
                    <a:cubicBezTo>
                      <a:pt x="24" y="447"/>
                      <a:pt x="24" y="447"/>
                      <a:pt x="24" y="447"/>
                    </a:cubicBezTo>
                    <a:cubicBezTo>
                      <a:pt x="22" y="450"/>
                      <a:pt x="21" y="453"/>
                      <a:pt x="20" y="456"/>
                    </a:cubicBezTo>
                    <a:cubicBezTo>
                      <a:pt x="19" y="457"/>
                      <a:pt x="19" y="457"/>
                      <a:pt x="19" y="458"/>
                    </a:cubicBezTo>
                    <a:cubicBezTo>
                      <a:pt x="18" y="460"/>
                      <a:pt x="17" y="463"/>
                      <a:pt x="16" y="465"/>
                    </a:cubicBezTo>
                    <a:cubicBezTo>
                      <a:pt x="15" y="468"/>
                      <a:pt x="13" y="472"/>
                      <a:pt x="12" y="475"/>
                    </a:cubicBezTo>
                    <a:cubicBezTo>
                      <a:pt x="11" y="478"/>
                      <a:pt x="10" y="482"/>
                      <a:pt x="9" y="485"/>
                    </a:cubicBezTo>
                    <a:cubicBezTo>
                      <a:pt x="9" y="486"/>
                      <a:pt x="9" y="487"/>
                      <a:pt x="8" y="488"/>
                    </a:cubicBezTo>
                    <a:cubicBezTo>
                      <a:pt x="8" y="491"/>
                      <a:pt x="7" y="493"/>
                      <a:pt x="6" y="495"/>
                    </a:cubicBezTo>
                    <a:cubicBezTo>
                      <a:pt x="6" y="496"/>
                      <a:pt x="6" y="498"/>
                      <a:pt x="6" y="499"/>
                    </a:cubicBezTo>
                    <a:cubicBezTo>
                      <a:pt x="5" y="501"/>
                      <a:pt x="5" y="503"/>
                      <a:pt x="4" y="505"/>
                    </a:cubicBezTo>
                    <a:cubicBezTo>
                      <a:pt x="4" y="507"/>
                      <a:pt x="4" y="508"/>
                      <a:pt x="3" y="510"/>
                    </a:cubicBezTo>
                    <a:cubicBezTo>
                      <a:pt x="3" y="512"/>
                      <a:pt x="3" y="514"/>
                      <a:pt x="2" y="516"/>
                    </a:cubicBezTo>
                    <a:cubicBezTo>
                      <a:pt x="2" y="518"/>
                      <a:pt x="2" y="519"/>
                      <a:pt x="2" y="520"/>
                    </a:cubicBezTo>
                    <a:cubicBezTo>
                      <a:pt x="1" y="523"/>
                      <a:pt x="1" y="525"/>
                      <a:pt x="1" y="527"/>
                    </a:cubicBezTo>
                    <a:cubicBezTo>
                      <a:pt x="1" y="528"/>
                      <a:pt x="1" y="530"/>
                      <a:pt x="1" y="531"/>
                    </a:cubicBezTo>
                    <a:cubicBezTo>
                      <a:pt x="0" y="534"/>
                      <a:pt x="0" y="536"/>
                      <a:pt x="0" y="538"/>
                    </a:cubicBezTo>
                    <a:cubicBezTo>
                      <a:pt x="0" y="540"/>
                      <a:pt x="0" y="541"/>
                      <a:pt x="0" y="542"/>
                    </a:cubicBezTo>
                    <a:cubicBezTo>
                      <a:pt x="0" y="546"/>
                      <a:pt x="0" y="549"/>
                      <a:pt x="0" y="553"/>
                    </a:cubicBezTo>
                    <a:cubicBezTo>
                      <a:pt x="0" y="553"/>
                      <a:pt x="0" y="553"/>
                      <a:pt x="0" y="553"/>
                    </a:cubicBezTo>
                    <a:cubicBezTo>
                      <a:pt x="0" y="557"/>
                      <a:pt x="0" y="561"/>
                      <a:pt x="0" y="565"/>
                    </a:cubicBezTo>
                    <a:cubicBezTo>
                      <a:pt x="0" y="565"/>
                      <a:pt x="0" y="565"/>
                      <a:pt x="0" y="565"/>
                    </a:cubicBezTo>
                    <a:cubicBezTo>
                      <a:pt x="0" y="565"/>
                      <a:pt x="0" y="565"/>
                      <a:pt x="0" y="565"/>
                    </a:cubicBezTo>
                    <a:cubicBezTo>
                      <a:pt x="0" y="566"/>
                      <a:pt x="0" y="567"/>
                      <a:pt x="0" y="568"/>
                    </a:cubicBezTo>
                    <a:cubicBezTo>
                      <a:pt x="0" y="568"/>
                      <a:pt x="0" y="568"/>
                      <a:pt x="0" y="568"/>
                    </a:cubicBezTo>
                    <a:cubicBezTo>
                      <a:pt x="0" y="568"/>
                      <a:pt x="0" y="568"/>
                      <a:pt x="0" y="568"/>
                    </a:cubicBezTo>
                    <a:cubicBezTo>
                      <a:pt x="0" y="571"/>
                      <a:pt x="1" y="574"/>
                      <a:pt x="1" y="576"/>
                    </a:cubicBezTo>
                    <a:cubicBezTo>
                      <a:pt x="1" y="576"/>
                      <a:pt x="1" y="576"/>
                      <a:pt x="1" y="576"/>
                    </a:cubicBezTo>
                    <a:cubicBezTo>
                      <a:pt x="1" y="576"/>
                      <a:pt x="1" y="576"/>
                      <a:pt x="1" y="576"/>
                    </a:cubicBezTo>
                    <a:cubicBezTo>
                      <a:pt x="1" y="578"/>
                      <a:pt x="1" y="579"/>
                      <a:pt x="1" y="580"/>
                    </a:cubicBezTo>
                    <a:cubicBezTo>
                      <a:pt x="1" y="580"/>
                      <a:pt x="1" y="580"/>
                      <a:pt x="1" y="580"/>
                    </a:cubicBezTo>
                    <a:cubicBezTo>
                      <a:pt x="1" y="580"/>
                      <a:pt x="1" y="580"/>
                      <a:pt x="1" y="580"/>
                    </a:cubicBezTo>
                    <a:cubicBezTo>
                      <a:pt x="1" y="583"/>
                      <a:pt x="2" y="586"/>
                      <a:pt x="2" y="588"/>
                    </a:cubicBezTo>
                    <a:cubicBezTo>
                      <a:pt x="2" y="588"/>
                      <a:pt x="2" y="588"/>
                      <a:pt x="2" y="588"/>
                    </a:cubicBezTo>
                    <a:cubicBezTo>
                      <a:pt x="2" y="588"/>
                      <a:pt x="2" y="588"/>
                      <a:pt x="2" y="588"/>
                    </a:cubicBezTo>
                    <a:cubicBezTo>
                      <a:pt x="2" y="589"/>
                      <a:pt x="3" y="591"/>
                      <a:pt x="3" y="592"/>
                    </a:cubicBezTo>
                    <a:cubicBezTo>
                      <a:pt x="3" y="592"/>
                      <a:pt x="3" y="592"/>
                      <a:pt x="3" y="592"/>
                    </a:cubicBezTo>
                    <a:cubicBezTo>
                      <a:pt x="3" y="592"/>
                      <a:pt x="3" y="592"/>
                      <a:pt x="3" y="592"/>
                    </a:cubicBezTo>
                    <a:cubicBezTo>
                      <a:pt x="3" y="595"/>
                      <a:pt x="4" y="598"/>
                      <a:pt x="4" y="601"/>
                    </a:cubicBezTo>
                    <a:cubicBezTo>
                      <a:pt x="4" y="601"/>
                      <a:pt x="4" y="601"/>
                      <a:pt x="4" y="601"/>
                    </a:cubicBezTo>
                    <a:cubicBezTo>
                      <a:pt x="4" y="601"/>
                      <a:pt x="4" y="601"/>
                      <a:pt x="4" y="601"/>
                    </a:cubicBezTo>
                    <a:cubicBezTo>
                      <a:pt x="5" y="602"/>
                      <a:pt x="5" y="603"/>
                      <a:pt x="5" y="603"/>
                    </a:cubicBezTo>
                    <a:cubicBezTo>
                      <a:pt x="5" y="603"/>
                      <a:pt x="5" y="603"/>
                      <a:pt x="5" y="603"/>
                    </a:cubicBezTo>
                    <a:cubicBezTo>
                      <a:pt x="5" y="603"/>
                      <a:pt x="5" y="603"/>
                      <a:pt x="5" y="603"/>
                    </a:cubicBezTo>
                    <a:cubicBezTo>
                      <a:pt x="6" y="607"/>
                      <a:pt x="6" y="611"/>
                      <a:pt x="7" y="614"/>
                    </a:cubicBezTo>
                    <a:cubicBezTo>
                      <a:pt x="7" y="614"/>
                      <a:pt x="7" y="614"/>
                      <a:pt x="7" y="614"/>
                    </a:cubicBezTo>
                    <a:cubicBezTo>
                      <a:pt x="7" y="614"/>
                      <a:pt x="7" y="614"/>
                      <a:pt x="7" y="614"/>
                    </a:cubicBezTo>
                    <a:cubicBezTo>
                      <a:pt x="8" y="615"/>
                      <a:pt x="8" y="616"/>
                      <a:pt x="8" y="617"/>
                    </a:cubicBezTo>
                    <a:cubicBezTo>
                      <a:pt x="8" y="617"/>
                      <a:pt x="8" y="617"/>
                      <a:pt x="8" y="617"/>
                    </a:cubicBezTo>
                    <a:cubicBezTo>
                      <a:pt x="8" y="618"/>
                      <a:pt x="8" y="618"/>
                      <a:pt x="8" y="618"/>
                    </a:cubicBezTo>
                    <a:cubicBezTo>
                      <a:pt x="9" y="621"/>
                      <a:pt x="10" y="623"/>
                      <a:pt x="10" y="625"/>
                    </a:cubicBezTo>
                    <a:cubicBezTo>
                      <a:pt x="10" y="625"/>
                      <a:pt x="10" y="625"/>
                      <a:pt x="10" y="625"/>
                    </a:cubicBezTo>
                    <a:cubicBezTo>
                      <a:pt x="10" y="625"/>
                      <a:pt x="10" y="625"/>
                      <a:pt x="10" y="625"/>
                    </a:cubicBezTo>
                    <a:cubicBezTo>
                      <a:pt x="11" y="626"/>
                      <a:pt x="11" y="628"/>
                      <a:pt x="12" y="629"/>
                    </a:cubicBezTo>
                    <a:cubicBezTo>
                      <a:pt x="12" y="629"/>
                      <a:pt x="12" y="629"/>
                      <a:pt x="12" y="629"/>
                    </a:cubicBezTo>
                    <a:cubicBezTo>
                      <a:pt x="12" y="629"/>
                      <a:pt x="12" y="629"/>
                      <a:pt x="12" y="629"/>
                    </a:cubicBezTo>
                    <a:cubicBezTo>
                      <a:pt x="12" y="631"/>
                      <a:pt x="13" y="634"/>
                      <a:pt x="14" y="636"/>
                    </a:cubicBezTo>
                    <a:cubicBezTo>
                      <a:pt x="14" y="636"/>
                      <a:pt x="14" y="636"/>
                      <a:pt x="14" y="636"/>
                    </a:cubicBezTo>
                    <a:cubicBezTo>
                      <a:pt x="14" y="636"/>
                      <a:pt x="14" y="636"/>
                      <a:pt x="14" y="636"/>
                    </a:cubicBezTo>
                    <a:cubicBezTo>
                      <a:pt x="14" y="637"/>
                      <a:pt x="15" y="638"/>
                      <a:pt x="15" y="640"/>
                    </a:cubicBezTo>
                    <a:cubicBezTo>
                      <a:pt x="15" y="640"/>
                      <a:pt x="15" y="640"/>
                      <a:pt x="15" y="640"/>
                    </a:cubicBezTo>
                    <a:cubicBezTo>
                      <a:pt x="15" y="640"/>
                      <a:pt x="15" y="640"/>
                      <a:pt x="15" y="640"/>
                    </a:cubicBezTo>
                    <a:cubicBezTo>
                      <a:pt x="16" y="641"/>
                      <a:pt x="17" y="643"/>
                      <a:pt x="17" y="644"/>
                    </a:cubicBezTo>
                    <a:cubicBezTo>
                      <a:pt x="18" y="645"/>
                      <a:pt x="18" y="646"/>
                      <a:pt x="18" y="647"/>
                    </a:cubicBezTo>
                    <a:cubicBezTo>
                      <a:pt x="18" y="647"/>
                      <a:pt x="18" y="647"/>
                      <a:pt x="18" y="647"/>
                    </a:cubicBezTo>
                    <a:cubicBezTo>
                      <a:pt x="18" y="647"/>
                      <a:pt x="18" y="647"/>
                      <a:pt x="18" y="647"/>
                    </a:cubicBezTo>
                    <a:cubicBezTo>
                      <a:pt x="18" y="647"/>
                      <a:pt x="18" y="647"/>
                      <a:pt x="18" y="647"/>
                    </a:cubicBezTo>
                    <a:cubicBezTo>
                      <a:pt x="19" y="648"/>
                      <a:pt x="19" y="649"/>
                      <a:pt x="20" y="650"/>
                    </a:cubicBezTo>
                    <a:cubicBezTo>
                      <a:pt x="20" y="650"/>
                      <a:pt x="20" y="650"/>
                      <a:pt x="20" y="650"/>
                    </a:cubicBezTo>
                    <a:cubicBezTo>
                      <a:pt x="20" y="650"/>
                      <a:pt x="20" y="650"/>
                      <a:pt x="20" y="650"/>
                    </a:cubicBezTo>
                    <a:cubicBezTo>
                      <a:pt x="21" y="653"/>
                      <a:pt x="23" y="657"/>
                      <a:pt x="24" y="660"/>
                    </a:cubicBezTo>
                    <a:cubicBezTo>
                      <a:pt x="24" y="660"/>
                      <a:pt x="24" y="660"/>
                      <a:pt x="24" y="660"/>
                    </a:cubicBezTo>
                    <a:cubicBezTo>
                      <a:pt x="24" y="660"/>
                      <a:pt x="24" y="660"/>
                      <a:pt x="24" y="660"/>
                    </a:cubicBezTo>
                    <a:cubicBezTo>
                      <a:pt x="24" y="661"/>
                      <a:pt x="25" y="661"/>
                      <a:pt x="25" y="662"/>
                    </a:cubicBezTo>
                    <a:cubicBezTo>
                      <a:pt x="25" y="662"/>
                      <a:pt x="25" y="662"/>
                      <a:pt x="25" y="662"/>
                    </a:cubicBezTo>
                    <a:cubicBezTo>
                      <a:pt x="25" y="662"/>
                      <a:pt x="25" y="662"/>
                      <a:pt x="25" y="662"/>
                    </a:cubicBezTo>
                    <a:cubicBezTo>
                      <a:pt x="26" y="665"/>
                      <a:pt x="28" y="667"/>
                      <a:pt x="29" y="670"/>
                    </a:cubicBezTo>
                    <a:cubicBezTo>
                      <a:pt x="29" y="670"/>
                      <a:pt x="29" y="670"/>
                      <a:pt x="29" y="670"/>
                    </a:cubicBezTo>
                    <a:cubicBezTo>
                      <a:pt x="29" y="670"/>
                      <a:pt x="29" y="670"/>
                      <a:pt x="29" y="670"/>
                    </a:cubicBezTo>
                    <a:cubicBezTo>
                      <a:pt x="30" y="671"/>
                      <a:pt x="30" y="672"/>
                      <a:pt x="31" y="673"/>
                    </a:cubicBezTo>
                    <a:cubicBezTo>
                      <a:pt x="31" y="673"/>
                      <a:pt x="31" y="673"/>
                      <a:pt x="31" y="673"/>
                    </a:cubicBezTo>
                    <a:cubicBezTo>
                      <a:pt x="31" y="673"/>
                      <a:pt x="31" y="673"/>
                      <a:pt x="31" y="673"/>
                    </a:cubicBezTo>
                    <a:cubicBezTo>
                      <a:pt x="32" y="675"/>
                      <a:pt x="33" y="678"/>
                      <a:pt x="35" y="680"/>
                    </a:cubicBezTo>
                    <a:cubicBezTo>
                      <a:pt x="35" y="680"/>
                      <a:pt x="35" y="680"/>
                      <a:pt x="35" y="680"/>
                    </a:cubicBezTo>
                    <a:cubicBezTo>
                      <a:pt x="35" y="680"/>
                      <a:pt x="35" y="680"/>
                      <a:pt x="35" y="680"/>
                    </a:cubicBezTo>
                    <a:cubicBezTo>
                      <a:pt x="35" y="681"/>
                      <a:pt x="36" y="682"/>
                      <a:pt x="37" y="683"/>
                    </a:cubicBezTo>
                    <a:cubicBezTo>
                      <a:pt x="37" y="683"/>
                      <a:pt x="37" y="683"/>
                      <a:pt x="37" y="683"/>
                    </a:cubicBezTo>
                    <a:cubicBezTo>
                      <a:pt x="37" y="683"/>
                      <a:pt x="37" y="683"/>
                      <a:pt x="37" y="683"/>
                    </a:cubicBezTo>
                    <a:cubicBezTo>
                      <a:pt x="38" y="685"/>
                      <a:pt x="39" y="687"/>
                      <a:pt x="41" y="689"/>
                    </a:cubicBezTo>
                    <a:cubicBezTo>
                      <a:pt x="41" y="689"/>
                      <a:pt x="41" y="689"/>
                      <a:pt x="41" y="689"/>
                    </a:cubicBezTo>
                    <a:cubicBezTo>
                      <a:pt x="41" y="689"/>
                      <a:pt x="41" y="689"/>
                      <a:pt x="41" y="689"/>
                    </a:cubicBezTo>
                    <a:cubicBezTo>
                      <a:pt x="42" y="690"/>
                      <a:pt x="42" y="691"/>
                      <a:pt x="43" y="692"/>
                    </a:cubicBezTo>
                    <a:cubicBezTo>
                      <a:pt x="43" y="692"/>
                      <a:pt x="43" y="692"/>
                      <a:pt x="43" y="692"/>
                    </a:cubicBezTo>
                    <a:cubicBezTo>
                      <a:pt x="43" y="692"/>
                      <a:pt x="43" y="692"/>
                      <a:pt x="43" y="692"/>
                    </a:cubicBezTo>
                    <a:cubicBezTo>
                      <a:pt x="45" y="695"/>
                      <a:pt x="47" y="698"/>
                      <a:pt x="49" y="701"/>
                    </a:cubicBezTo>
                    <a:cubicBezTo>
                      <a:pt x="49" y="701"/>
                      <a:pt x="49" y="701"/>
                      <a:pt x="49" y="701"/>
                    </a:cubicBezTo>
                    <a:cubicBezTo>
                      <a:pt x="49" y="701"/>
                      <a:pt x="49" y="701"/>
                      <a:pt x="49" y="701"/>
                    </a:cubicBezTo>
                    <a:cubicBezTo>
                      <a:pt x="49" y="701"/>
                      <a:pt x="49" y="702"/>
                      <a:pt x="50" y="702"/>
                    </a:cubicBezTo>
                    <a:cubicBezTo>
                      <a:pt x="50" y="702"/>
                      <a:pt x="50" y="702"/>
                      <a:pt x="50" y="702"/>
                    </a:cubicBezTo>
                    <a:cubicBezTo>
                      <a:pt x="50" y="702"/>
                      <a:pt x="50" y="702"/>
                      <a:pt x="50" y="702"/>
                    </a:cubicBezTo>
                    <a:cubicBezTo>
                      <a:pt x="52" y="704"/>
                      <a:pt x="54" y="707"/>
                      <a:pt x="56" y="710"/>
                    </a:cubicBezTo>
                    <a:cubicBezTo>
                      <a:pt x="56" y="710"/>
                      <a:pt x="56" y="710"/>
                      <a:pt x="56" y="710"/>
                    </a:cubicBezTo>
                    <a:cubicBezTo>
                      <a:pt x="56" y="710"/>
                      <a:pt x="56" y="710"/>
                      <a:pt x="56" y="710"/>
                    </a:cubicBezTo>
                    <a:cubicBezTo>
                      <a:pt x="57" y="711"/>
                      <a:pt x="58" y="712"/>
                      <a:pt x="58" y="713"/>
                    </a:cubicBezTo>
                    <a:cubicBezTo>
                      <a:pt x="58" y="713"/>
                      <a:pt x="58" y="713"/>
                      <a:pt x="58" y="713"/>
                    </a:cubicBezTo>
                    <a:cubicBezTo>
                      <a:pt x="58" y="713"/>
                      <a:pt x="58" y="713"/>
                      <a:pt x="58" y="713"/>
                    </a:cubicBezTo>
                    <a:cubicBezTo>
                      <a:pt x="60" y="714"/>
                      <a:pt x="62" y="716"/>
                      <a:pt x="63" y="718"/>
                    </a:cubicBezTo>
                    <a:cubicBezTo>
                      <a:pt x="63" y="718"/>
                      <a:pt x="63" y="718"/>
                      <a:pt x="63" y="718"/>
                    </a:cubicBezTo>
                    <a:cubicBezTo>
                      <a:pt x="63" y="718"/>
                      <a:pt x="63" y="718"/>
                      <a:pt x="63" y="718"/>
                    </a:cubicBezTo>
                    <a:cubicBezTo>
                      <a:pt x="64" y="719"/>
                      <a:pt x="65" y="720"/>
                      <a:pt x="66" y="721"/>
                    </a:cubicBezTo>
                    <a:cubicBezTo>
                      <a:pt x="66" y="721"/>
                      <a:pt x="66" y="721"/>
                      <a:pt x="66" y="721"/>
                    </a:cubicBezTo>
                    <a:cubicBezTo>
                      <a:pt x="66" y="721"/>
                      <a:pt x="66" y="721"/>
                      <a:pt x="66" y="721"/>
                    </a:cubicBezTo>
                    <a:cubicBezTo>
                      <a:pt x="68" y="723"/>
                      <a:pt x="69" y="725"/>
                      <a:pt x="71" y="726"/>
                    </a:cubicBezTo>
                    <a:cubicBezTo>
                      <a:pt x="71" y="726"/>
                      <a:pt x="71" y="726"/>
                      <a:pt x="71" y="726"/>
                    </a:cubicBezTo>
                    <a:cubicBezTo>
                      <a:pt x="71" y="726"/>
                      <a:pt x="71" y="726"/>
                      <a:pt x="71" y="726"/>
                    </a:cubicBezTo>
                    <a:cubicBezTo>
                      <a:pt x="72" y="727"/>
                      <a:pt x="73" y="728"/>
                      <a:pt x="74" y="729"/>
                    </a:cubicBezTo>
                    <a:cubicBezTo>
                      <a:pt x="74" y="729"/>
                      <a:pt x="74" y="729"/>
                      <a:pt x="74" y="729"/>
                    </a:cubicBezTo>
                    <a:cubicBezTo>
                      <a:pt x="74" y="729"/>
                      <a:pt x="74" y="729"/>
                      <a:pt x="74" y="729"/>
                    </a:cubicBezTo>
                    <a:cubicBezTo>
                      <a:pt x="74" y="730"/>
                      <a:pt x="75" y="730"/>
                      <a:pt x="76" y="731"/>
                    </a:cubicBezTo>
                    <a:cubicBezTo>
                      <a:pt x="77" y="732"/>
                      <a:pt x="79" y="734"/>
                      <a:pt x="80" y="735"/>
                    </a:cubicBezTo>
                    <a:cubicBezTo>
                      <a:pt x="80" y="735"/>
                      <a:pt x="80" y="735"/>
                      <a:pt x="80" y="735"/>
                    </a:cubicBezTo>
                    <a:cubicBezTo>
                      <a:pt x="81" y="736"/>
                      <a:pt x="81" y="736"/>
                      <a:pt x="82" y="737"/>
                    </a:cubicBezTo>
                    <a:cubicBezTo>
                      <a:pt x="82" y="737"/>
                      <a:pt x="82" y="737"/>
                      <a:pt x="82" y="737"/>
                    </a:cubicBezTo>
                    <a:cubicBezTo>
                      <a:pt x="82" y="737"/>
                      <a:pt x="82" y="737"/>
                      <a:pt x="82" y="737"/>
                    </a:cubicBezTo>
                    <a:cubicBezTo>
                      <a:pt x="84" y="739"/>
                      <a:pt x="86" y="741"/>
                      <a:pt x="89" y="743"/>
                    </a:cubicBezTo>
                    <a:cubicBezTo>
                      <a:pt x="89" y="743"/>
                      <a:pt x="90" y="743"/>
                      <a:pt x="90" y="744"/>
                    </a:cubicBezTo>
                    <a:cubicBezTo>
                      <a:pt x="90" y="744"/>
                      <a:pt x="90" y="744"/>
                      <a:pt x="90" y="744"/>
                    </a:cubicBezTo>
                    <a:cubicBezTo>
                      <a:pt x="91" y="744"/>
                      <a:pt x="92" y="745"/>
                      <a:pt x="93" y="746"/>
                    </a:cubicBezTo>
                    <a:cubicBezTo>
                      <a:pt x="93" y="746"/>
                      <a:pt x="93" y="746"/>
                      <a:pt x="93" y="746"/>
                    </a:cubicBezTo>
                    <a:cubicBezTo>
                      <a:pt x="93" y="746"/>
                      <a:pt x="93" y="746"/>
                      <a:pt x="93" y="746"/>
                    </a:cubicBezTo>
                    <a:cubicBezTo>
                      <a:pt x="95" y="747"/>
                      <a:pt x="97" y="749"/>
                      <a:pt x="99" y="750"/>
                    </a:cubicBezTo>
                    <a:cubicBezTo>
                      <a:pt x="99" y="750"/>
                      <a:pt x="99" y="750"/>
                      <a:pt x="99" y="750"/>
                    </a:cubicBezTo>
                    <a:cubicBezTo>
                      <a:pt x="99" y="750"/>
                      <a:pt x="99" y="750"/>
                      <a:pt x="99" y="750"/>
                    </a:cubicBezTo>
                    <a:cubicBezTo>
                      <a:pt x="99" y="751"/>
                      <a:pt x="100" y="752"/>
                      <a:pt x="101" y="753"/>
                    </a:cubicBezTo>
                    <a:cubicBezTo>
                      <a:pt x="101" y="753"/>
                      <a:pt x="101" y="753"/>
                      <a:pt x="101" y="753"/>
                    </a:cubicBezTo>
                    <a:cubicBezTo>
                      <a:pt x="101" y="753"/>
                      <a:pt x="101" y="753"/>
                      <a:pt x="101" y="753"/>
                    </a:cubicBezTo>
                    <a:cubicBezTo>
                      <a:pt x="103" y="754"/>
                      <a:pt x="105" y="756"/>
                      <a:pt x="107" y="757"/>
                    </a:cubicBezTo>
                    <a:cubicBezTo>
                      <a:pt x="107" y="757"/>
                      <a:pt x="107" y="757"/>
                      <a:pt x="107" y="757"/>
                    </a:cubicBezTo>
                    <a:cubicBezTo>
                      <a:pt x="107" y="757"/>
                      <a:pt x="107" y="757"/>
                      <a:pt x="107" y="757"/>
                    </a:cubicBezTo>
                    <a:cubicBezTo>
                      <a:pt x="108" y="758"/>
                      <a:pt x="109" y="759"/>
                      <a:pt x="110" y="759"/>
                    </a:cubicBezTo>
                    <a:cubicBezTo>
                      <a:pt x="110" y="759"/>
                      <a:pt x="110" y="759"/>
                      <a:pt x="110" y="759"/>
                    </a:cubicBezTo>
                    <a:cubicBezTo>
                      <a:pt x="110" y="759"/>
                      <a:pt x="110" y="759"/>
                      <a:pt x="110" y="759"/>
                    </a:cubicBezTo>
                    <a:cubicBezTo>
                      <a:pt x="112" y="760"/>
                      <a:pt x="113" y="761"/>
                      <a:pt x="114" y="762"/>
                    </a:cubicBezTo>
                    <a:cubicBezTo>
                      <a:pt x="115" y="762"/>
                      <a:pt x="116" y="763"/>
                      <a:pt x="117" y="763"/>
                    </a:cubicBezTo>
                    <a:cubicBezTo>
                      <a:pt x="117" y="763"/>
                      <a:pt x="117" y="763"/>
                      <a:pt x="117" y="763"/>
                    </a:cubicBezTo>
                    <a:cubicBezTo>
                      <a:pt x="118" y="764"/>
                      <a:pt x="119" y="765"/>
                      <a:pt x="119" y="765"/>
                    </a:cubicBezTo>
                    <a:cubicBezTo>
                      <a:pt x="119" y="765"/>
                      <a:pt x="119" y="765"/>
                      <a:pt x="119" y="765"/>
                    </a:cubicBezTo>
                    <a:cubicBezTo>
                      <a:pt x="119" y="765"/>
                      <a:pt x="119" y="765"/>
                      <a:pt x="119" y="765"/>
                    </a:cubicBezTo>
                    <a:cubicBezTo>
                      <a:pt x="123" y="767"/>
                      <a:pt x="126" y="769"/>
                      <a:pt x="129" y="771"/>
                    </a:cubicBezTo>
                    <a:cubicBezTo>
                      <a:pt x="129" y="771"/>
                      <a:pt x="129" y="771"/>
                      <a:pt x="129" y="771"/>
                    </a:cubicBezTo>
                    <a:cubicBezTo>
                      <a:pt x="130" y="771"/>
                      <a:pt x="131" y="771"/>
                      <a:pt x="131" y="772"/>
                    </a:cubicBezTo>
                    <a:cubicBezTo>
                      <a:pt x="131" y="772"/>
                      <a:pt x="131" y="772"/>
                      <a:pt x="131" y="772"/>
                    </a:cubicBezTo>
                    <a:cubicBezTo>
                      <a:pt x="131" y="772"/>
                      <a:pt x="131" y="772"/>
                      <a:pt x="131" y="772"/>
                    </a:cubicBezTo>
                    <a:cubicBezTo>
                      <a:pt x="134" y="773"/>
                      <a:pt x="136" y="774"/>
                      <a:pt x="139" y="776"/>
                    </a:cubicBezTo>
                    <a:cubicBezTo>
                      <a:pt x="139" y="776"/>
                      <a:pt x="139" y="776"/>
                      <a:pt x="139" y="776"/>
                    </a:cubicBezTo>
                    <a:cubicBezTo>
                      <a:pt x="140" y="776"/>
                      <a:pt x="140" y="776"/>
                      <a:pt x="140" y="776"/>
                    </a:cubicBezTo>
                    <a:cubicBezTo>
                      <a:pt x="141" y="777"/>
                      <a:pt x="142" y="777"/>
                      <a:pt x="143" y="777"/>
                    </a:cubicBezTo>
                    <a:cubicBezTo>
                      <a:pt x="145" y="778"/>
                      <a:pt x="147" y="779"/>
                      <a:pt x="149" y="780"/>
                    </a:cubicBezTo>
                    <a:cubicBezTo>
                      <a:pt x="149" y="780"/>
                      <a:pt x="149" y="780"/>
                      <a:pt x="149" y="780"/>
                    </a:cubicBezTo>
                    <a:cubicBezTo>
                      <a:pt x="150" y="781"/>
                      <a:pt x="152" y="781"/>
                      <a:pt x="153" y="782"/>
                    </a:cubicBezTo>
                    <a:cubicBezTo>
                      <a:pt x="153" y="782"/>
                      <a:pt x="153" y="782"/>
                      <a:pt x="153" y="782"/>
                    </a:cubicBezTo>
                    <a:cubicBezTo>
                      <a:pt x="153" y="782"/>
                      <a:pt x="153" y="782"/>
                      <a:pt x="153" y="782"/>
                    </a:cubicBezTo>
                    <a:cubicBezTo>
                      <a:pt x="155" y="783"/>
                      <a:pt x="158" y="784"/>
                      <a:pt x="160" y="785"/>
                    </a:cubicBezTo>
                    <a:cubicBezTo>
                      <a:pt x="161" y="785"/>
                      <a:pt x="161" y="785"/>
                      <a:pt x="161" y="785"/>
                    </a:cubicBezTo>
                    <a:cubicBezTo>
                      <a:pt x="162" y="785"/>
                      <a:pt x="163" y="786"/>
                      <a:pt x="163" y="786"/>
                    </a:cubicBezTo>
                    <a:cubicBezTo>
                      <a:pt x="166" y="787"/>
                      <a:pt x="169" y="788"/>
                      <a:pt x="172" y="789"/>
                    </a:cubicBezTo>
                    <a:cubicBezTo>
                      <a:pt x="173" y="789"/>
                      <a:pt x="173" y="789"/>
                      <a:pt x="174" y="789"/>
                    </a:cubicBezTo>
                    <a:cubicBezTo>
                      <a:pt x="174" y="789"/>
                      <a:pt x="174" y="789"/>
                      <a:pt x="174" y="790"/>
                    </a:cubicBezTo>
                    <a:cubicBezTo>
                      <a:pt x="174" y="790"/>
                      <a:pt x="174" y="790"/>
                      <a:pt x="174" y="790"/>
                    </a:cubicBezTo>
                    <a:cubicBezTo>
                      <a:pt x="174" y="790"/>
                      <a:pt x="174" y="790"/>
                      <a:pt x="175" y="791"/>
                    </a:cubicBezTo>
                    <a:cubicBezTo>
                      <a:pt x="175" y="791"/>
                      <a:pt x="175" y="791"/>
                      <a:pt x="176" y="792"/>
                    </a:cubicBezTo>
                    <a:cubicBezTo>
                      <a:pt x="176" y="792"/>
                      <a:pt x="176" y="792"/>
                      <a:pt x="176" y="792"/>
                    </a:cubicBezTo>
                    <a:cubicBezTo>
                      <a:pt x="176" y="792"/>
                      <a:pt x="176" y="792"/>
                      <a:pt x="176" y="792"/>
                    </a:cubicBezTo>
                    <a:cubicBezTo>
                      <a:pt x="177" y="794"/>
                      <a:pt x="178" y="795"/>
                      <a:pt x="179" y="797"/>
                    </a:cubicBezTo>
                    <a:cubicBezTo>
                      <a:pt x="180" y="798"/>
                      <a:pt x="180" y="798"/>
                      <a:pt x="181" y="799"/>
                    </a:cubicBezTo>
                    <a:cubicBezTo>
                      <a:pt x="181" y="799"/>
                      <a:pt x="181" y="799"/>
                      <a:pt x="181" y="799"/>
                    </a:cubicBezTo>
                    <a:cubicBezTo>
                      <a:pt x="181" y="799"/>
                      <a:pt x="181" y="799"/>
                      <a:pt x="181" y="799"/>
                    </a:cubicBezTo>
                    <a:cubicBezTo>
                      <a:pt x="181" y="799"/>
                      <a:pt x="181" y="799"/>
                      <a:pt x="181" y="799"/>
                    </a:cubicBezTo>
                    <a:cubicBezTo>
                      <a:pt x="181" y="800"/>
                      <a:pt x="182" y="801"/>
                      <a:pt x="183" y="802"/>
                    </a:cubicBezTo>
                    <a:cubicBezTo>
                      <a:pt x="183" y="802"/>
                      <a:pt x="183" y="802"/>
                      <a:pt x="183" y="802"/>
                    </a:cubicBezTo>
                    <a:cubicBezTo>
                      <a:pt x="183" y="802"/>
                      <a:pt x="183" y="802"/>
                      <a:pt x="183" y="802"/>
                    </a:cubicBezTo>
                    <a:cubicBezTo>
                      <a:pt x="185" y="805"/>
                      <a:pt x="187" y="807"/>
                      <a:pt x="189" y="810"/>
                    </a:cubicBezTo>
                    <a:cubicBezTo>
                      <a:pt x="189" y="810"/>
                      <a:pt x="189" y="810"/>
                      <a:pt x="189" y="810"/>
                    </a:cubicBezTo>
                    <a:cubicBezTo>
                      <a:pt x="189" y="810"/>
                      <a:pt x="189" y="810"/>
                      <a:pt x="189" y="810"/>
                    </a:cubicBezTo>
                    <a:cubicBezTo>
                      <a:pt x="190" y="811"/>
                      <a:pt x="191" y="812"/>
                      <a:pt x="192" y="813"/>
                    </a:cubicBezTo>
                    <a:cubicBezTo>
                      <a:pt x="192" y="813"/>
                      <a:pt x="192" y="813"/>
                      <a:pt x="192" y="813"/>
                    </a:cubicBezTo>
                    <a:cubicBezTo>
                      <a:pt x="192" y="813"/>
                      <a:pt x="192" y="813"/>
                      <a:pt x="192" y="813"/>
                    </a:cubicBezTo>
                    <a:cubicBezTo>
                      <a:pt x="193" y="815"/>
                      <a:pt x="195" y="817"/>
                      <a:pt x="197" y="819"/>
                    </a:cubicBezTo>
                    <a:cubicBezTo>
                      <a:pt x="198" y="820"/>
                      <a:pt x="199" y="821"/>
                      <a:pt x="199" y="822"/>
                    </a:cubicBezTo>
                    <a:cubicBezTo>
                      <a:pt x="199" y="822"/>
                      <a:pt x="199" y="822"/>
                      <a:pt x="199" y="822"/>
                    </a:cubicBezTo>
                    <a:cubicBezTo>
                      <a:pt x="200" y="822"/>
                      <a:pt x="200" y="822"/>
                      <a:pt x="200" y="822"/>
                    </a:cubicBezTo>
                    <a:cubicBezTo>
                      <a:pt x="202" y="825"/>
                      <a:pt x="204" y="827"/>
                      <a:pt x="207" y="829"/>
                    </a:cubicBezTo>
                    <a:cubicBezTo>
                      <a:pt x="207" y="829"/>
                      <a:pt x="207" y="829"/>
                      <a:pt x="207" y="829"/>
                    </a:cubicBezTo>
                    <a:cubicBezTo>
                      <a:pt x="207" y="829"/>
                      <a:pt x="207" y="829"/>
                      <a:pt x="207" y="829"/>
                    </a:cubicBezTo>
                    <a:cubicBezTo>
                      <a:pt x="207" y="830"/>
                      <a:pt x="208" y="831"/>
                      <a:pt x="209" y="832"/>
                    </a:cubicBezTo>
                    <a:cubicBezTo>
                      <a:pt x="209" y="832"/>
                      <a:pt x="209" y="832"/>
                      <a:pt x="209" y="832"/>
                    </a:cubicBezTo>
                    <a:cubicBezTo>
                      <a:pt x="209" y="832"/>
                      <a:pt x="209" y="832"/>
                      <a:pt x="209" y="832"/>
                    </a:cubicBezTo>
                    <a:cubicBezTo>
                      <a:pt x="212" y="834"/>
                      <a:pt x="214" y="837"/>
                      <a:pt x="217" y="839"/>
                    </a:cubicBezTo>
                    <a:cubicBezTo>
                      <a:pt x="217" y="839"/>
                      <a:pt x="217" y="839"/>
                      <a:pt x="217" y="839"/>
                    </a:cubicBezTo>
                    <a:cubicBezTo>
                      <a:pt x="217" y="839"/>
                      <a:pt x="217" y="839"/>
                      <a:pt x="217" y="839"/>
                    </a:cubicBezTo>
                    <a:cubicBezTo>
                      <a:pt x="217" y="839"/>
                      <a:pt x="217" y="839"/>
                      <a:pt x="217" y="839"/>
                    </a:cubicBezTo>
                    <a:cubicBezTo>
                      <a:pt x="217" y="840"/>
                      <a:pt x="218" y="840"/>
                      <a:pt x="218" y="840"/>
                    </a:cubicBezTo>
                    <a:cubicBezTo>
                      <a:pt x="218" y="840"/>
                      <a:pt x="218" y="841"/>
                      <a:pt x="219" y="841"/>
                    </a:cubicBezTo>
                    <a:cubicBezTo>
                      <a:pt x="219" y="841"/>
                      <a:pt x="219" y="841"/>
                      <a:pt x="219" y="841"/>
                    </a:cubicBezTo>
                    <a:cubicBezTo>
                      <a:pt x="219" y="841"/>
                      <a:pt x="219" y="841"/>
                      <a:pt x="219" y="841"/>
                    </a:cubicBezTo>
                    <a:cubicBezTo>
                      <a:pt x="219" y="841"/>
                      <a:pt x="219" y="841"/>
                      <a:pt x="219" y="841"/>
                    </a:cubicBezTo>
                    <a:cubicBezTo>
                      <a:pt x="221" y="843"/>
                      <a:pt x="223" y="845"/>
                      <a:pt x="226" y="847"/>
                    </a:cubicBezTo>
                    <a:cubicBezTo>
                      <a:pt x="226" y="847"/>
                      <a:pt x="226" y="847"/>
                      <a:pt x="226" y="847"/>
                    </a:cubicBezTo>
                    <a:cubicBezTo>
                      <a:pt x="226" y="847"/>
                      <a:pt x="226" y="847"/>
                      <a:pt x="226" y="847"/>
                    </a:cubicBezTo>
                    <a:cubicBezTo>
                      <a:pt x="226" y="847"/>
                      <a:pt x="226" y="847"/>
                      <a:pt x="226" y="847"/>
                    </a:cubicBezTo>
                    <a:cubicBezTo>
                      <a:pt x="227" y="848"/>
                      <a:pt x="228" y="849"/>
                      <a:pt x="228" y="849"/>
                    </a:cubicBezTo>
                    <a:cubicBezTo>
                      <a:pt x="228" y="849"/>
                      <a:pt x="228" y="849"/>
                      <a:pt x="228" y="849"/>
                    </a:cubicBezTo>
                    <a:cubicBezTo>
                      <a:pt x="228" y="849"/>
                      <a:pt x="228" y="849"/>
                      <a:pt x="228" y="849"/>
                    </a:cubicBezTo>
                    <a:cubicBezTo>
                      <a:pt x="231" y="851"/>
                      <a:pt x="234" y="854"/>
                      <a:pt x="237" y="856"/>
                    </a:cubicBezTo>
                    <a:cubicBezTo>
                      <a:pt x="237" y="856"/>
                      <a:pt x="237" y="856"/>
                      <a:pt x="237" y="856"/>
                    </a:cubicBezTo>
                    <a:cubicBezTo>
                      <a:pt x="237" y="856"/>
                      <a:pt x="237" y="856"/>
                      <a:pt x="237" y="856"/>
                    </a:cubicBezTo>
                    <a:cubicBezTo>
                      <a:pt x="238" y="856"/>
                      <a:pt x="238" y="857"/>
                      <a:pt x="239" y="858"/>
                    </a:cubicBezTo>
                    <a:cubicBezTo>
                      <a:pt x="239" y="858"/>
                      <a:pt x="239" y="858"/>
                      <a:pt x="239" y="858"/>
                    </a:cubicBezTo>
                    <a:cubicBezTo>
                      <a:pt x="239" y="858"/>
                      <a:pt x="239" y="858"/>
                      <a:pt x="239" y="858"/>
                    </a:cubicBezTo>
                    <a:cubicBezTo>
                      <a:pt x="241" y="859"/>
                      <a:pt x="242" y="860"/>
                      <a:pt x="244" y="861"/>
                    </a:cubicBezTo>
                    <a:cubicBezTo>
                      <a:pt x="245" y="862"/>
                      <a:pt x="246" y="862"/>
                      <a:pt x="247" y="863"/>
                    </a:cubicBezTo>
                    <a:cubicBezTo>
                      <a:pt x="248" y="864"/>
                      <a:pt x="248" y="864"/>
                      <a:pt x="248" y="864"/>
                    </a:cubicBezTo>
                    <a:cubicBezTo>
                      <a:pt x="249" y="864"/>
                      <a:pt x="249" y="864"/>
                      <a:pt x="249" y="864"/>
                    </a:cubicBezTo>
                    <a:cubicBezTo>
                      <a:pt x="252" y="867"/>
                      <a:pt x="255" y="868"/>
                      <a:pt x="258" y="870"/>
                    </a:cubicBezTo>
                    <a:cubicBezTo>
                      <a:pt x="258" y="870"/>
                      <a:pt x="258" y="870"/>
                      <a:pt x="258" y="870"/>
                    </a:cubicBezTo>
                    <a:cubicBezTo>
                      <a:pt x="258" y="870"/>
                      <a:pt x="258" y="870"/>
                      <a:pt x="258" y="870"/>
                    </a:cubicBezTo>
                    <a:cubicBezTo>
                      <a:pt x="259" y="871"/>
                      <a:pt x="260" y="871"/>
                      <a:pt x="261" y="872"/>
                    </a:cubicBezTo>
                    <a:cubicBezTo>
                      <a:pt x="261" y="872"/>
                      <a:pt x="261" y="872"/>
                      <a:pt x="261" y="872"/>
                    </a:cubicBezTo>
                    <a:cubicBezTo>
                      <a:pt x="261" y="872"/>
                      <a:pt x="261" y="872"/>
                      <a:pt x="261" y="872"/>
                    </a:cubicBezTo>
                    <a:cubicBezTo>
                      <a:pt x="261" y="872"/>
                      <a:pt x="261" y="872"/>
                      <a:pt x="261" y="872"/>
                    </a:cubicBezTo>
                    <a:cubicBezTo>
                      <a:pt x="264" y="874"/>
                      <a:pt x="267" y="876"/>
                      <a:pt x="271" y="878"/>
                    </a:cubicBezTo>
                    <a:cubicBezTo>
                      <a:pt x="271" y="878"/>
                      <a:pt x="271" y="878"/>
                      <a:pt x="271" y="878"/>
                    </a:cubicBezTo>
                    <a:cubicBezTo>
                      <a:pt x="271" y="878"/>
                      <a:pt x="271" y="878"/>
                      <a:pt x="271" y="878"/>
                    </a:cubicBezTo>
                    <a:cubicBezTo>
                      <a:pt x="272" y="878"/>
                      <a:pt x="272" y="878"/>
                      <a:pt x="272" y="878"/>
                    </a:cubicBezTo>
                    <a:cubicBezTo>
                      <a:pt x="272" y="878"/>
                      <a:pt x="272" y="878"/>
                      <a:pt x="272" y="878"/>
                    </a:cubicBezTo>
                    <a:cubicBezTo>
                      <a:pt x="275" y="880"/>
                      <a:pt x="278" y="882"/>
                      <a:pt x="281" y="883"/>
                    </a:cubicBezTo>
                    <a:cubicBezTo>
                      <a:pt x="281" y="883"/>
                      <a:pt x="281" y="883"/>
                      <a:pt x="281" y="883"/>
                    </a:cubicBezTo>
                    <a:cubicBezTo>
                      <a:pt x="282" y="883"/>
                      <a:pt x="283" y="884"/>
                      <a:pt x="284" y="884"/>
                    </a:cubicBezTo>
                    <a:cubicBezTo>
                      <a:pt x="284" y="884"/>
                      <a:pt x="284" y="884"/>
                      <a:pt x="284" y="884"/>
                    </a:cubicBezTo>
                    <a:cubicBezTo>
                      <a:pt x="284" y="884"/>
                      <a:pt x="284" y="884"/>
                      <a:pt x="284" y="884"/>
                    </a:cubicBezTo>
                    <a:cubicBezTo>
                      <a:pt x="287" y="886"/>
                      <a:pt x="291" y="888"/>
                      <a:pt x="294" y="889"/>
                    </a:cubicBezTo>
                    <a:cubicBezTo>
                      <a:pt x="294" y="889"/>
                      <a:pt x="294" y="889"/>
                      <a:pt x="294" y="889"/>
                    </a:cubicBezTo>
                    <a:cubicBezTo>
                      <a:pt x="294" y="889"/>
                      <a:pt x="294" y="889"/>
                      <a:pt x="294" y="889"/>
                    </a:cubicBezTo>
                    <a:cubicBezTo>
                      <a:pt x="295" y="889"/>
                      <a:pt x="296" y="890"/>
                      <a:pt x="296" y="890"/>
                    </a:cubicBezTo>
                    <a:cubicBezTo>
                      <a:pt x="296" y="890"/>
                      <a:pt x="296" y="890"/>
                      <a:pt x="296" y="890"/>
                    </a:cubicBezTo>
                    <a:cubicBezTo>
                      <a:pt x="296" y="890"/>
                      <a:pt x="296" y="890"/>
                      <a:pt x="296" y="890"/>
                    </a:cubicBezTo>
                    <a:cubicBezTo>
                      <a:pt x="298" y="890"/>
                      <a:pt x="299" y="891"/>
                      <a:pt x="300" y="891"/>
                    </a:cubicBezTo>
                    <a:cubicBezTo>
                      <a:pt x="302" y="892"/>
                      <a:pt x="304" y="893"/>
                      <a:pt x="306" y="894"/>
                    </a:cubicBezTo>
                    <a:cubicBezTo>
                      <a:pt x="306" y="894"/>
                      <a:pt x="306" y="894"/>
                      <a:pt x="306" y="894"/>
                    </a:cubicBezTo>
                    <a:cubicBezTo>
                      <a:pt x="306" y="894"/>
                      <a:pt x="306" y="894"/>
                      <a:pt x="306" y="894"/>
                    </a:cubicBezTo>
                    <a:cubicBezTo>
                      <a:pt x="307" y="894"/>
                      <a:pt x="307" y="894"/>
                      <a:pt x="308" y="894"/>
                    </a:cubicBezTo>
                    <a:cubicBezTo>
                      <a:pt x="312" y="896"/>
                      <a:pt x="315" y="897"/>
                      <a:pt x="319" y="898"/>
                    </a:cubicBezTo>
                    <a:cubicBezTo>
                      <a:pt x="320" y="898"/>
                      <a:pt x="321" y="899"/>
                      <a:pt x="322" y="899"/>
                    </a:cubicBezTo>
                    <a:cubicBezTo>
                      <a:pt x="322" y="899"/>
                      <a:pt x="322" y="899"/>
                      <a:pt x="322" y="899"/>
                    </a:cubicBezTo>
                    <a:cubicBezTo>
                      <a:pt x="322" y="899"/>
                      <a:pt x="322" y="899"/>
                      <a:pt x="322" y="899"/>
                    </a:cubicBezTo>
                    <a:cubicBezTo>
                      <a:pt x="325" y="900"/>
                      <a:pt x="329" y="901"/>
                      <a:pt x="333" y="902"/>
                    </a:cubicBezTo>
                    <a:cubicBezTo>
                      <a:pt x="333" y="902"/>
                      <a:pt x="333" y="902"/>
                      <a:pt x="333" y="902"/>
                    </a:cubicBezTo>
                    <a:cubicBezTo>
                      <a:pt x="333" y="902"/>
                      <a:pt x="333" y="902"/>
                      <a:pt x="334" y="902"/>
                    </a:cubicBezTo>
                    <a:cubicBezTo>
                      <a:pt x="334" y="902"/>
                      <a:pt x="334" y="902"/>
                      <a:pt x="334" y="902"/>
                    </a:cubicBezTo>
                    <a:cubicBezTo>
                      <a:pt x="334" y="902"/>
                      <a:pt x="334" y="903"/>
                      <a:pt x="335" y="903"/>
                    </a:cubicBezTo>
                    <a:cubicBezTo>
                      <a:pt x="338" y="903"/>
                      <a:pt x="341" y="904"/>
                      <a:pt x="345" y="905"/>
                    </a:cubicBezTo>
                    <a:cubicBezTo>
                      <a:pt x="345" y="905"/>
                      <a:pt x="345" y="905"/>
                      <a:pt x="345" y="905"/>
                    </a:cubicBezTo>
                    <a:cubicBezTo>
                      <a:pt x="345" y="905"/>
                      <a:pt x="345" y="905"/>
                      <a:pt x="345" y="905"/>
                    </a:cubicBezTo>
                    <a:cubicBezTo>
                      <a:pt x="346" y="905"/>
                      <a:pt x="347" y="905"/>
                      <a:pt x="347" y="906"/>
                    </a:cubicBezTo>
                    <a:cubicBezTo>
                      <a:pt x="347" y="906"/>
                      <a:pt x="347" y="906"/>
                      <a:pt x="347" y="906"/>
                    </a:cubicBezTo>
                    <a:cubicBezTo>
                      <a:pt x="347" y="906"/>
                      <a:pt x="347" y="906"/>
                      <a:pt x="347" y="906"/>
                    </a:cubicBezTo>
                    <a:cubicBezTo>
                      <a:pt x="350" y="906"/>
                      <a:pt x="353" y="907"/>
                      <a:pt x="356" y="907"/>
                    </a:cubicBezTo>
                    <a:cubicBezTo>
                      <a:pt x="357" y="907"/>
                      <a:pt x="358" y="907"/>
                      <a:pt x="359" y="908"/>
                    </a:cubicBezTo>
                    <a:cubicBezTo>
                      <a:pt x="360" y="908"/>
                      <a:pt x="360" y="908"/>
                      <a:pt x="360" y="908"/>
                    </a:cubicBezTo>
                    <a:cubicBezTo>
                      <a:pt x="361" y="908"/>
                      <a:pt x="361" y="908"/>
                      <a:pt x="361" y="908"/>
                    </a:cubicBezTo>
                    <a:cubicBezTo>
                      <a:pt x="361" y="908"/>
                      <a:pt x="361" y="908"/>
                      <a:pt x="361" y="908"/>
                    </a:cubicBezTo>
                    <a:cubicBezTo>
                      <a:pt x="361" y="908"/>
                      <a:pt x="361" y="908"/>
                      <a:pt x="361" y="908"/>
                    </a:cubicBezTo>
                    <a:cubicBezTo>
                      <a:pt x="365" y="908"/>
                      <a:pt x="368" y="909"/>
                      <a:pt x="372" y="909"/>
                    </a:cubicBezTo>
                    <a:cubicBezTo>
                      <a:pt x="372" y="909"/>
                      <a:pt x="372" y="909"/>
                      <a:pt x="372" y="909"/>
                    </a:cubicBezTo>
                    <a:cubicBezTo>
                      <a:pt x="373" y="909"/>
                      <a:pt x="373" y="909"/>
                      <a:pt x="374" y="910"/>
                    </a:cubicBezTo>
                    <a:cubicBezTo>
                      <a:pt x="378" y="910"/>
                      <a:pt x="382" y="910"/>
                      <a:pt x="386" y="910"/>
                    </a:cubicBezTo>
                    <a:cubicBezTo>
                      <a:pt x="386" y="910"/>
                      <a:pt x="386" y="910"/>
                      <a:pt x="386" y="910"/>
                    </a:cubicBezTo>
                    <a:cubicBezTo>
                      <a:pt x="386" y="910"/>
                      <a:pt x="386" y="910"/>
                      <a:pt x="386" y="910"/>
                    </a:cubicBezTo>
                    <a:cubicBezTo>
                      <a:pt x="387" y="910"/>
                      <a:pt x="388" y="911"/>
                      <a:pt x="389" y="911"/>
                    </a:cubicBezTo>
                    <a:cubicBezTo>
                      <a:pt x="389" y="911"/>
                      <a:pt x="389" y="911"/>
                      <a:pt x="389" y="911"/>
                    </a:cubicBezTo>
                    <a:cubicBezTo>
                      <a:pt x="392" y="911"/>
                      <a:pt x="396" y="911"/>
                      <a:pt x="399" y="911"/>
                    </a:cubicBezTo>
                    <a:cubicBezTo>
                      <a:pt x="400" y="911"/>
                      <a:pt x="401" y="911"/>
                      <a:pt x="402" y="911"/>
                    </a:cubicBezTo>
                    <a:cubicBezTo>
                      <a:pt x="402" y="911"/>
                      <a:pt x="402" y="911"/>
                      <a:pt x="402" y="911"/>
                    </a:cubicBezTo>
                    <a:cubicBezTo>
                      <a:pt x="402" y="911"/>
                      <a:pt x="402" y="911"/>
                      <a:pt x="402" y="911"/>
                    </a:cubicBezTo>
                    <a:cubicBezTo>
                      <a:pt x="407" y="911"/>
                      <a:pt x="411" y="911"/>
                      <a:pt x="416" y="910"/>
                    </a:cubicBezTo>
                    <a:cubicBezTo>
                      <a:pt x="416" y="910"/>
                      <a:pt x="416" y="910"/>
                      <a:pt x="416" y="910"/>
                    </a:cubicBezTo>
                    <a:cubicBezTo>
                      <a:pt x="416" y="910"/>
                      <a:pt x="416" y="910"/>
                      <a:pt x="416" y="910"/>
                    </a:cubicBezTo>
                    <a:cubicBezTo>
                      <a:pt x="418" y="910"/>
                      <a:pt x="419" y="910"/>
                      <a:pt x="420" y="910"/>
                    </a:cubicBezTo>
                    <a:cubicBezTo>
                      <a:pt x="421" y="910"/>
                      <a:pt x="421" y="910"/>
                      <a:pt x="421" y="910"/>
                    </a:cubicBezTo>
                    <a:cubicBezTo>
                      <a:pt x="422" y="910"/>
                      <a:pt x="422" y="910"/>
                      <a:pt x="422" y="910"/>
                    </a:cubicBezTo>
                    <a:cubicBezTo>
                      <a:pt x="425" y="910"/>
                      <a:pt x="428" y="910"/>
                      <a:pt x="431" y="909"/>
                    </a:cubicBezTo>
                    <a:cubicBezTo>
                      <a:pt x="432" y="909"/>
                      <a:pt x="433" y="909"/>
                      <a:pt x="434" y="909"/>
                    </a:cubicBezTo>
                    <a:cubicBezTo>
                      <a:pt x="435" y="909"/>
                      <a:pt x="436" y="909"/>
                      <a:pt x="436" y="909"/>
                    </a:cubicBezTo>
                    <a:cubicBezTo>
                      <a:pt x="436" y="909"/>
                      <a:pt x="436" y="909"/>
                      <a:pt x="436" y="909"/>
                    </a:cubicBezTo>
                    <a:cubicBezTo>
                      <a:pt x="436" y="909"/>
                      <a:pt x="436" y="909"/>
                      <a:pt x="436" y="909"/>
                    </a:cubicBezTo>
                    <a:cubicBezTo>
                      <a:pt x="438" y="908"/>
                      <a:pt x="439" y="908"/>
                      <a:pt x="440" y="908"/>
                    </a:cubicBezTo>
                    <a:cubicBezTo>
                      <a:pt x="442" y="908"/>
                      <a:pt x="444" y="908"/>
                      <a:pt x="446" y="907"/>
                    </a:cubicBezTo>
                    <a:cubicBezTo>
                      <a:pt x="447" y="907"/>
                      <a:pt x="448" y="907"/>
                      <a:pt x="450" y="907"/>
                    </a:cubicBezTo>
                    <a:cubicBezTo>
                      <a:pt x="450" y="906"/>
                      <a:pt x="451" y="906"/>
                      <a:pt x="451" y="906"/>
                    </a:cubicBezTo>
                    <a:cubicBezTo>
                      <a:pt x="451" y="906"/>
                      <a:pt x="451" y="906"/>
                      <a:pt x="451" y="906"/>
                    </a:cubicBezTo>
                    <a:cubicBezTo>
                      <a:pt x="451" y="906"/>
                      <a:pt x="451" y="906"/>
                      <a:pt x="451" y="906"/>
                    </a:cubicBezTo>
                    <a:cubicBezTo>
                      <a:pt x="451" y="906"/>
                      <a:pt x="451" y="906"/>
                      <a:pt x="451" y="906"/>
                    </a:cubicBezTo>
                    <a:cubicBezTo>
                      <a:pt x="452" y="906"/>
                      <a:pt x="452" y="906"/>
                      <a:pt x="453" y="906"/>
                    </a:cubicBezTo>
                    <a:cubicBezTo>
                      <a:pt x="455" y="906"/>
                      <a:pt x="457" y="905"/>
                      <a:pt x="460" y="905"/>
                    </a:cubicBezTo>
                    <a:cubicBezTo>
                      <a:pt x="461" y="904"/>
                      <a:pt x="463" y="904"/>
                      <a:pt x="464" y="904"/>
                    </a:cubicBezTo>
                    <a:cubicBezTo>
                      <a:pt x="465" y="903"/>
                      <a:pt x="465" y="903"/>
                      <a:pt x="465" y="903"/>
                    </a:cubicBezTo>
                    <a:cubicBezTo>
                      <a:pt x="465" y="903"/>
                      <a:pt x="465" y="903"/>
                      <a:pt x="465" y="903"/>
                    </a:cubicBezTo>
                    <a:cubicBezTo>
                      <a:pt x="465" y="903"/>
                      <a:pt x="465" y="903"/>
                      <a:pt x="465" y="903"/>
                    </a:cubicBezTo>
                    <a:cubicBezTo>
                      <a:pt x="468" y="903"/>
                      <a:pt x="471" y="902"/>
                      <a:pt x="474" y="901"/>
                    </a:cubicBezTo>
                    <a:cubicBezTo>
                      <a:pt x="476" y="901"/>
                      <a:pt x="477" y="900"/>
                      <a:pt x="479" y="900"/>
                    </a:cubicBezTo>
                    <a:cubicBezTo>
                      <a:pt x="481" y="899"/>
                      <a:pt x="483" y="898"/>
                      <a:pt x="485" y="898"/>
                    </a:cubicBezTo>
                    <a:cubicBezTo>
                      <a:pt x="486" y="897"/>
                      <a:pt x="487" y="897"/>
                      <a:pt x="488" y="897"/>
                    </a:cubicBezTo>
                    <a:cubicBezTo>
                      <a:pt x="488" y="897"/>
                      <a:pt x="488" y="897"/>
                      <a:pt x="488" y="897"/>
                    </a:cubicBezTo>
                    <a:cubicBezTo>
                      <a:pt x="489" y="897"/>
                      <a:pt x="489" y="897"/>
                      <a:pt x="489" y="897"/>
                    </a:cubicBezTo>
                    <a:cubicBezTo>
                      <a:pt x="490" y="896"/>
                      <a:pt x="491" y="896"/>
                      <a:pt x="492" y="895"/>
                    </a:cubicBezTo>
                    <a:cubicBezTo>
                      <a:pt x="496" y="894"/>
                      <a:pt x="499" y="893"/>
                      <a:pt x="502" y="892"/>
                    </a:cubicBezTo>
                    <a:cubicBezTo>
                      <a:pt x="503" y="891"/>
                      <a:pt x="504" y="891"/>
                      <a:pt x="505" y="890"/>
                    </a:cubicBezTo>
                    <a:cubicBezTo>
                      <a:pt x="505" y="890"/>
                      <a:pt x="505" y="890"/>
                      <a:pt x="505" y="890"/>
                    </a:cubicBezTo>
                    <a:cubicBezTo>
                      <a:pt x="506" y="890"/>
                      <a:pt x="506" y="890"/>
                      <a:pt x="507" y="890"/>
                    </a:cubicBezTo>
                    <a:cubicBezTo>
                      <a:pt x="510" y="889"/>
                      <a:pt x="513" y="887"/>
                      <a:pt x="516" y="886"/>
                    </a:cubicBezTo>
                    <a:cubicBezTo>
                      <a:pt x="516" y="886"/>
                      <a:pt x="516" y="886"/>
                      <a:pt x="516" y="886"/>
                    </a:cubicBezTo>
                    <a:cubicBezTo>
                      <a:pt x="517" y="886"/>
                      <a:pt x="517" y="885"/>
                      <a:pt x="517" y="885"/>
                    </a:cubicBezTo>
                    <a:cubicBezTo>
                      <a:pt x="518" y="885"/>
                      <a:pt x="518" y="885"/>
                      <a:pt x="518" y="885"/>
                    </a:cubicBezTo>
                    <a:cubicBezTo>
                      <a:pt x="521" y="884"/>
                      <a:pt x="524" y="882"/>
                      <a:pt x="526" y="881"/>
                    </a:cubicBezTo>
                    <a:cubicBezTo>
                      <a:pt x="527" y="880"/>
                      <a:pt x="528" y="880"/>
                      <a:pt x="529" y="880"/>
                    </a:cubicBezTo>
                    <a:cubicBezTo>
                      <a:pt x="530" y="879"/>
                      <a:pt x="531" y="878"/>
                      <a:pt x="532" y="878"/>
                    </a:cubicBezTo>
                    <a:cubicBezTo>
                      <a:pt x="533" y="877"/>
                      <a:pt x="533" y="877"/>
                      <a:pt x="533" y="877"/>
                    </a:cubicBezTo>
                    <a:cubicBezTo>
                      <a:pt x="534" y="877"/>
                      <a:pt x="535" y="876"/>
                      <a:pt x="536" y="875"/>
                    </a:cubicBezTo>
                    <a:cubicBezTo>
                      <a:pt x="537" y="875"/>
                      <a:pt x="538" y="874"/>
                      <a:pt x="539" y="874"/>
                    </a:cubicBezTo>
                    <a:cubicBezTo>
                      <a:pt x="541" y="872"/>
                      <a:pt x="544" y="871"/>
                      <a:pt x="547" y="869"/>
                    </a:cubicBezTo>
                    <a:cubicBezTo>
                      <a:pt x="547" y="869"/>
                      <a:pt x="547" y="869"/>
                      <a:pt x="548" y="869"/>
                    </a:cubicBezTo>
                    <a:cubicBezTo>
                      <a:pt x="550" y="867"/>
                      <a:pt x="552" y="866"/>
                      <a:pt x="555" y="864"/>
                    </a:cubicBezTo>
                    <a:cubicBezTo>
                      <a:pt x="555" y="864"/>
                      <a:pt x="556" y="864"/>
                      <a:pt x="556" y="863"/>
                    </a:cubicBezTo>
                    <a:cubicBezTo>
                      <a:pt x="556" y="863"/>
                      <a:pt x="556" y="863"/>
                      <a:pt x="556" y="863"/>
                    </a:cubicBezTo>
                    <a:cubicBezTo>
                      <a:pt x="560" y="861"/>
                      <a:pt x="563" y="858"/>
                      <a:pt x="566" y="856"/>
                    </a:cubicBezTo>
                    <a:cubicBezTo>
                      <a:pt x="566" y="856"/>
                      <a:pt x="566" y="856"/>
                      <a:pt x="566" y="856"/>
                    </a:cubicBezTo>
                    <a:cubicBezTo>
                      <a:pt x="567" y="855"/>
                      <a:pt x="568" y="854"/>
                      <a:pt x="569" y="853"/>
                    </a:cubicBezTo>
                    <a:cubicBezTo>
                      <a:pt x="570" y="853"/>
                      <a:pt x="570" y="853"/>
                      <a:pt x="570" y="853"/>
                    </a:cubicBezTo>
                    <a:cubicBezTo>
                      <a:pt x="572" y="851"/>
                      <a:pt x="574" y="849"/>
                      <a:pt x="577" y="848"/>
                    </a:cubicBezTo>
                    <a:cubicBezTo>
                      <a:pt x="577" y="847"/>
                      <a:pt x="577" y="847"/>
                      <a:pt x="577" y="847"/>
                    </a:cubicBezTo>
                    <a:cubicBezTo>
                      <a:pt x="578" y="847"/>
                      <a:pt x="579" y="846"/>
                      <a:pt x="580" y="845"/>
                    </a:cubicBezTo>
                    <a:cubicBezTo>
                      <a:pt x="580" y="844"/>
                      <a:pt x="581" y="844"/>
                      <a:pt x="581" y="844"/>
                    </a:cubicBezTo>
                    <a:cubicBezTo>
                      <a:pt x="581" y="844"/>
                      <a:pt x="581" y="843"/>
                      <a:pt x="582" y="843"/>
                    </a:cubicBezTo>
                    <a:cubicBezTo>
                      <a:pt x="584" y="841"/>
                      <a:pt x="587" y="839"/>
                      <a:pt x="589" y="836"/>
                    </a:cubicBezTo>
                    <a:cubicBezTo>
                      <a:pt x="589" y="836"/>
                      <a:pt x="589" y="836"/>
                      <a:pt x="589" y="836"/>
                    </a:cubicBezTo>
                    <a:cubicBezTo>
                      <a:pt x="589" y="836"/>
                      <a:pt x="589" y="836"/>
                      <a:pt x="589" y="836"/>
                    </a:cubicBezTo>
                    <a:cubicBezTo>
                      <a:pt x="589" y="836"/>
                      <a:pt x="589" y="836"/>
                      <a:pt x="590" y="836"/>
                    </a:cubicBezTo>
                    <a:cubicBezTo>
                      <a:pt x="590" y="836"/>
                      <a:pt x="590" y="836"/>
                      <a:pt x="590" y="836"/>
                    </a:cubicBezTo>
                    <a:cubicBezTo>
                      <a:pt x="590" y="836"/>
                      <a:pt x="590" y="836"/>
                      <a:pt x="590" y="836"/>
                    </a:cubicBezTo>
                    <a:cubicBezTo>
                      <a:pt x="593" y="833"/>
                      <a:pt x="596" y="830"/>
                      <a:pt x="600" y="826"/>
                    </a:cubicBezTo>
                    <a:cubicBezTo>
                      <a:pt x="600" y="826"/>
                      <a:pt x="600" y="826"/>
                      <a:pt x="600" y="826"/>
                    </a:cubicBezTo>
                    <a:cubicBezTo>
                      <a:pt x="600" y="826"/>
                      <a:pt x="600" y="826"/>
                      <a:pt x="600" y="826"/>
                    </a:cubicBezTo>
                    <a:cubicBezTo>
                      <a:pt x="600" y="826"/>
                      <a:pt x="600" y="826"/>
                      <a:pt x="600" y="826"/>
                    </a:cubicBezTo>
                    <a:cubicBezTo>
                      <a:pt x="603" y="822"/>
                      <a:pt x="606" y="819"/>
                      <a:pt x="609" y="815"/>
                    </a:cubicBezTo>
                    <a:cubicBezTo>
                      <a:pt x="609" y="815"/>
                      <a:pt x="609" y="815"/>
                      <a:pt x="609" y="815"/>
                    </a:cubicBezTo>
                    <a:cubicBezTo>
                      <a:pt x="609" y="815"/>
                      <a:pt x="609" y="815"/>
                      <a:pt x="609" y="815"/>
                    </a:cubicBezTo>
                    <a:cubicBezTo>
                      <a:pt x="609" y="815"/>
                      <a:pt x="609" y="815"/>
                      <a:pt x="609" y="815"/>
                    </a:cubicBezTo>
                    <a:cubicBezTo>
                      <a:pt x="614" y="820"/>
                      <a:pt x="619" y="824"/>
                      <a:pt x="625" y="829"/>
                    </a:cubicBezTo>
                    <a:cubicBezTo>
                      <a:pt x="625" y="829"/>
                      <a:pt x="625" y="829"/>
                      <a:pt x="625" y="829"/>
                    </a:cubicBezTo>
                    <a:cubicBezTo>
                      <a:pt x="627" y="831"/>
                      <a:pt x="630" y="833"/>
                      <a:pt x="633" y="835"/>
                    </a:cubicBezTo>
                    <a:cubicBezTo>
                      <a:pt x="633" y="835"/>
                      <a:pt x="633" y="835"/>
                      <a:pt x="633" y="835"/>
                    </a:cubicBezTo>
                    <a:cubicBezTo>
                      <a:pt x="635" y="837"/>
                      <a:pt x="638" y="839"/>
                      <a:pt x="641" y="841"/>
                    </a:cubicBezTo>
                    <a:cubicBezTo>
                      <a:pt x="641" y="841"/>
                      <a:pt x="641" y="841"/>
                      <a:pt x="641" y="841"/>
                    </a:cubicBezTo>
                    <a:cubicBezTo>
                      <a:pt x="641" y="841"/>
                      <a:pt x="641" y="841"/>
                      <a:pt x="641" y="841"/>
                    </a:cubicBezTo>
                    <a:cubicBezTo>
                      <a:pt x="641" y="841"/>
                      <a:pt x="641" y="841"/>
                      <a:pt x="641" y="841"/>
                    </a:cubicBezTo>
                    <a:cubicBezTo>
                      <a:pt x="641" y="841"/>
                      <a:pt x="641" y="841"/>
                      <a:pt x="641" y="841"/>
                    </a:cubicBezTo>
                    <a:cubicBezTo>
                      <a:pt x="641" y="841"/>
                      <a:pt x="641" y="841"/>
                      <a:pt x="641" y="841"/>
                    </a:cubicBezTo>
                    <a:cubicBezTo>
                      <a:pt x="644" y="843"/>
                      <a:pt x="647" y="844"/>
                      <a:pt x="649" y="846"/>
                    </a:cubicBezTo>
                    <a:cubicBezTo>
                      <a:pt x="649" y="846"/>
                      <a:pt x="649" y="846"/>
                      <a:pt x="649" y="846"/>
                    </a:cubicBezTo>
                    <a:cubicBezTo>
                      <a:pt x="649" y="846"/>
                      <a:pt x="649" y="846"/>
                      <a:pt x="649" y="846"/>
                    </a:cubicBezTo>
                    <a:cubicBezTo>
                      <a:pt x="650" y="846"/>
                      <a:pt x="650" y="846"/>
                      <a:pt x="650" y="846"/>
                    </a:cubicBezTo>
                    <a:cubicBezTo>
                      <a:pt x="650" y="846"/>
                      <a:pt x="650" y="846"/>
                      <a:pt x="650" y="846"/>
                    </a:cubicBezTo>
                    <a:cubicBezTo>
                      <a:pt x="650" y="847"/>
                      <a:pt x="651" y="847"/>
                      <a:pt x="652" y="848"/>
                    </a:cubicBezTo>
                    <a:cubicBezTo>
                      <a:pt x="654" y="849"/>
                      <a:pt x="656" y="850"/>
                      <a:pt x="658" y="851"/>
                    </a:cubicBezTo>
                    <a:cubicBezTo>
                      <a:pt x="658" y="851"/>
                      <a:pt x="658" y="851"/>
                      <a:pt x="658" y="851"/>
                    </a:cubicBezTo>
                    <a:cubicBezTo>
                      <a:pt x="658" y="851"/>
                      <a:pt x="658" y="851"/>
                      <a:pt x="658" y="851"/>
                    </a:cubicBezTo>
                    <a:cubicBezTo>
                      <a:pt x="659" y="851"/>
                      <a:pt x="659" y="851"/>
                      <a:pt x="659" y="851"/>
                    </a:cubicBezTo>
                    <a:cubicBezTo>
                      <a:pt x="659" y="851"/>
                      <a:pt x="659" y="851"/>
                      <a:pt x="659" y="851"/>
                    </a:cubicBezTo>
                    <a:cubicBezTo>
                      <a:pt x="659" y="851"/>
                      <a:pt x="659" y="851"/>
                      <a:pt x="659" y="851"/>
                    </a:cubicBezTo>
                    <a:cubicBezTo>
                      <a:pt x="662" y="853"/>
                      <a:pt x="665" y="854"/>
                      <a:pt x="667" y="856"/>
                    </a:cubicBezTo>
                    <a:cubicBezTo>
                      <a:pt x="667" y="856"/>
                      <a:pt x="667" y="856"/>
                      <a:pt x="667" y="856"/>
                    </a:cubicBezTo>
                    <a:cubicBezTo>
                      <a:pt x="667" y="856"/>
                      <a:pt x="667" y="856"/>
                      <a:pt x="667" y="856"/>
                    </a:cubicBezTo>
                    <a:cubicBezTo>
                      <a:pt x="668" y="856"/>
                      <a:pt x="668" y="856"/>
                      <a:pt x="668" y="856"/>
                    </a:cubicBezTo>
                    <a:cubicBezTo>
                      <a:pt x="668" y="856"/>
                      <a:pt x="668" y="856"/>
                      <a:pt x="668" y="856"/>
                    </a:cubicBezTo>
                    <a:cubicBezTo>
                      <a:pt x="668" y="856"/>
                      <a:pt x="668" y="856"/>
                      <a:pt x="668" y="856"/>
                    </a:cubicBezTo>
                    <a:cubicBezTo>
                      <a:pt x="671" y="857"/>
                      <a:pt x="674" y="859"/>
                      <a:pt x="677" y="860"/>
                    </a:cubicBezTo>
                    <a:cubicBezTo>
                      <a:pt x="677" y="860"/>
                      <a:pt x="677" y="860"/>
                      <a:pt x="677" y="860"/>
                    </a:cubicBezTo>
                    <a:cubicBezTo>
                      <a:pt x="677" y="860"/>
                      <a:pt x="677" y="860"/>
                      <a:pt x="677" y="860"/>
                    </a:cubicBezTo>
                    <a:cubicBezTo>
                      <a:pt x="678" y="860"/>
                      <a:pt x="678" y="860"/>
                      <a:pt x="678" y="860"/>
                    </a:cubicBezTo>
                    <a:cubicBezTo>
                      <a:pt x="678" y="860"/>
                      <a:pt x="678" y="860"/>
                      <a:pt x="678" y="860"/>
                    </a:cubicBezTo>
                    <a:cubicBezTo>
                      <a:pt x="678" y="860"/>
                      <a:pt x="678" y="860"/>
                      <a:pt x="678" y="860"/>
                    </a:cubicBezTo>
                    <a:cubicBezTo>
                      <a:pt x="681" y="861"/>
                      <a:pt x="684" y="863"/>
                      <a:pt x="686" y="864"/>
                    </a:cubicBezTo>
                    <a:cubicBezTo>
                      <a:pt x="686" y="864"/>
                      <a:pt x="686" y="864"/>
                      <a:pt x="686" y="864"/>
                    </a:cubicBezTo>
                    <a:cubicBezTo>
                      <a:pt x="686" y="864"/>
                      <a:pt x="686" y="864"/>
                      <a:pt x="686" y="864"/>
                    </a:cubicBezTo>
                    <a:cubicBezTo>
                      <a:pt x="687" y="864"/>
                      <a:pt x="687" y="864"/>
                      <a:pt x="687" y="864"/>
                    </a:cubicBezTo>
                    <a:cubicBezTo>
                      <a:pt x="688" y="864"/>
                      <a:pt x="688" y="864"/>
                      <a:pt x="688" y="864"/>
                    </a:cubicBezTo>
                    <a:cubicBezTo>
                      <a:pt x="691" y="865"/>
                      <a:pt x="693" y="866"/>
                      <a:pt x="696" y="867"/>
                    </a:cubicBezTo>
                    <a:cubicBezTo>
                      <a:pt x="696" y="867"/>
                      <a:pt x="696" y="867"/>
                      <a:pt x="696" y="867"/>
                    </a:cubicBezTo>
                    <a:cubicBezTo>
                      <a:pt x="696" y="867"/>
                      <a:pt x="696" y="867"/>
                      <a:pt x="696" y="867"/>
                    </a:cubicBezTo>
                    <a:cubicBezTo>
                      <a:pt x="697" y="867"/>
                      <a:pt x="698" y="867"/>
                      <a:pt x="698" y="867"/>
                    </a:cubicBezTo>
                    <a:cubicBezTo>
                      <a:pt x="698" y="867"/>
                      <a:pt x="699" y="867"/>
                      <a:pt x="699" y="868"/>
                    </a:cubicBezTo>
                    <a:cubicBezTo>
                      <a:pt x="700" y="868"/>
                      <a:pt x="701" y="868"/>
                      <a:pt x="703" y="869"/>
                    </a:cubicBezTo>
                    <a:cubicBezTo>
                      <a:pt x="704" y="869"/>
                      <a:pt x="705" y="869"/>
                      <a:pt x="706" y="870"/>
                    </a:cubicBezTo>
                    <a:cubicBezTo>
                      <a:pt x="706" y="870"/>
                      <a:pt x="706" y="870"/>
                      <a:pt x="706" y="870"/>
                    </a:cubicBezTo>
                    <a:cubicBezTo>
                      <a:pt x="706" y="870"/>
                      <a:pt x="706" y="870"/>
                      <a:pt x="706" y="870"/>
                    </a:cubicBezTo>
                    <a:cubicBezTo>
                      <a:pt x="707" y="870"/>
                      <a:pt x="708" y="870"/>
                      <a:pt x="709" y="870"/>
                    </a:cubicBezTo>
                    <a:cubicBezTo>
                      <a:pt x="709" y="870"/>
                      <a:pt x="709" y="870"/>
                      <a:pt x="709" y="870"/>
                    </a:cubicBezTo>
                    <a:cubicBezTo>
                      <a:pt x="709" y="870"/>
                      <a:pt x="709" y="870"/>
                      <a:pt x="709" y="870"/>
                    </a:cubicBezTo>
                    <a:cubicBezTo>
                      <a:pt x="709" y="870"/>
                      <a:pt x="709" y="870"/>
                      <a:pt x="709" y="870"/>
                    </a:cubicBezTo>
                    <a:cubicBezTo>
                      <a:pt x="711" y="871"/>
                      <a:pt x="712" y="871"/>
                      <a:pt x="714" y="871"/>
                    </a:cubicBezTo>
                    <a:cubicBezTo>
                      <a:pt x="715" y="872"/>
                      <a:pt x="716" y="872"/>
                      <a:pt x="716" y="872"/>
                    </a:cubicBezTo>
                    <a:cubicBezTo>
                      <a:pt x="716" y="872"/>
                      <a:pt x="716" y="872"/>
                      <a:pt x="716" y="872"/>
                    </a:cubicBezTo>
                    <a:cubicBezTo>
                      <a:pt x="716" y="872"/>
                      <a:pt x="716" y="872"/>
                      <a:pt x="716" y="872"/>
                    </a:cubicBezTo>
                    <a:cubicBezTo>
                      <a:pt x="718" y="872"/>
                      <a:pt x="719" y="872"/>
                      <a:pt x="720" y="873"/>
                    </a:cubicBezTo>
                    <a:cubicBezTo>
                      <a:pt x="720" y="873"/>
                      <a:pt x="720" y="873"/>
                      <a:pt x="720" y="873"/>
                    </a:cubicBezTo>
                    <a:cubicBezTo>
                      <a:pt x="720" y="873"/>
                      <a:pt x="720" y="873"/>
                      <a:pt x="720" y="873"/>
                    </a:cubicBezTo>
                    <a:cubicBezTo>
                      <a:pt x="723" y="873"/>
                      <a:pt x="725" y="873"/>
                      <a:pt x="727" y="874"/>
                    </a:cubicBezTo>
                    <a:cubicBezTo>
                      <a:pt x="728" y="874"/>
                      <a:pt x="729" y="874"/>
                      <a:pt x="730" y="874"/>
                    </a:cubicBezTo>
                    <a:cubicBezTo>
                      <a:pt x="730" y="874"/>
                      <a:pt x="731" y="874"/>
                      <a:pt x="732" y="874"/>
                    </a:cubicBezTo>
                    <a:cubicBezTo>
                      <a:pt x="732" y="874"/>
                      <a:pt x="732" y="874"/>
                      <a:pt x="732" y="874"/>
                    </a:cubicBezTo>
                    <a:cubicBezTo>
                      <a:pt x="732" y="874"/>
                      <a:pt x="732" y="874"/>
                      <a:pt x="732" y="874"/>
                    </a:cubicBezTo>
                    <a:cubicBezTo>
                      <a:pt x="734" y="875"/>
                      <a:pt x="735" y="875"/>
                      <a:pt x="737" y="875"/>
                    </a:cubicBezTo>
                    <a:cubicBezTo>
                      <a:pt x="737" y="875"/>
                      <a:pt x="737" y="875"/>
                      <a:pt x="737" y="875"/>
                    </a:cubicBezTo>
                    <a:cubicBezTo>
                      <a:pt x="739" y="875"/>
                      <a:pt x="741" y="875"/>
                      <a:pt x="743" y="876"/>
                    </a:cubicBezTo>
                    <a:cubicBezTo>
                      <a:pt x="743" y="876"/>
                      <a:pt x="743" y="876"/>
                      <a:pt x="744" y="876"/>
                    </a:cubicBezTo>
                    <a:cubicBezTo>
                      <a:pt x="745" y="876"/>
                      <a:pt x="745" y="876"/>
                      <a:pt x="745" y="876"/>
                    </a:cubicBezTo>
                    <a:cubicBezTo>
                      <a:pt x="746" y="876"/>
                      <a:pt x="747" y="876"/>
                      <a:pt x="748" y="876"/>
                    </a:cubicBezTo>
                    <a:cubicBezTo>
                      <a:pt x="748" y="876"/>
                      <a:pt x="748" y="876"/>
                      <a:pt x="748" y="876"/>
                    </a:cubicBezTo>
                    <a:cubicBezTo>
                      <a:pt x="748" y="876"/>
                      <a:pt x="748" y="876"/>
                      <a:pt x="748" y="876"/>
                    </a:cubicBezTo>
                    <a:cubicBezTo>
                      <a:pt x="752" y="876"/>
                      <a:pt x="755" y="876"/>
                      <a:pt x="759" y="876"/>
                    </a:cubicBezTo>
                    <a:cubicBezTo>
                      <a:pt x="759" y="876"/>
                      <a:pt x="759" y="876"/>
                      <a:pt x="759" y="876"/>
                    </a:cubicBezTo>
                    <a:cubicBezTo>
                      <a:pt x="759" y="876"/>
                      <a:pt x="759" y="876"/>
                      <a:pt x="759" y="876"/>
                    </a:cubicBezTo>
                    <a:cubicBezTo>
                      <a:pt x="761" y="876"/>
                      <a:pt x="763" y="876"/>
                      <a:pt x="765" y="876"/>
                    </a:cubicBezTo>
                    <a:cubicBezTo>
                      <a:pt x="767" y="876"/>
                      <a:pt x="768" y="876"/>
                      <a:pt x="770" y="876"/>
                    </a:cubicBezTo>
                    <a:cubicBezTo>
                      <a:pt x="771" y="876"/>
                      <a:pt x="771" y="876"/>
                      <a:pt x="772" y="876"/>
                    </a:cubicBezTo>
                    <a:cubicBezTo>
                      <a:pt x="773" y="876"/>
                      <a:pt x="773" y="876"/>
                      <a:pt x="774" y="876"/>
                    </a:cubicBezTo>
                    <a:cubicBezTo>
                      <a:pt x="775" y="876"/>
                      <a:pt x="776" y="876"/>
                      <a:pt x="777" y="875"/>
                    </a:cubicBezTo>
                    <a:cubicBezTo>
                      <a:pt x="778" y="875"/>
                      <a:pt x="779" y="875"/>
                      <a:pt x="780" y="875"/>
                    </a:cubicBezTo>
                    <a:cubicBezTo>
                      <a:pt x="780" y="875"/>
                      <a:pt x="780" y="875"/>
                      <a:pt x="780" y="875"/>
                    </a:cubicBezTo>
                    <a:cubicBezTo>
                      <a:pt x="781" y="875"/>
                      <a:pt x="781" y="875"/>
                      <a:pt x="781" y="875"/>
                    </a:cubicBezTo>
                    <a:cubicBezTo>
                      <a:pt x="782" y="875"/>
                      <a:pt x="784" y="875"/>
                      <a:pt x="785" y="875"/>
                    </a:cubicBezTo>
                    <a:cubicBezTo>
                      <a:pt x="787" y="874"/>
                      <a:pt x="788" y="874"/>
                      <a:pt x="790" y="874"/>
                    </a:cubicBezTo>
                    <a:cubicBezTo>
                      <a:pt x="791" y="874"/>
                      <a:pt x="791" y="874"/>
                      <a:pt x="791" y="874"/>
                    </a:cubicBezTo>
                    <a:cubicBezTo>
                      <a:pt x="792" y="874"/>
                      <a:pt x="793" y="874"/>
                      <a:pt x="794" y="873"/>
                    </a:cubicBezTo>
                    <a:cubicBezTo>
                      <a:pt x="795" y="873"/>
                      <a:pt x="795" y="873"/>
                      <a:pt x="796" y="873"/>
                    </a:cubicBezTo>
                    <a:cubicBezTo>
                      <a:pt x="798" y="873"/>
                      <a:pt x="800" y="872"/>
                      <a:pt x="801" y="872"/>
                    </a:cubicBezTo>
                    <a:cubicBezTo>
                      <a:pt x="803" y="872"/>
                      <a:pt x="805" y="871"/>
                      <a:pt x="807" y="871"/>
                    </a:cubicBezTo>
                    <a:cubicBezTo>
                      <a:pt x="808" y="870"/>
                      <a:pt x="810" y="870"/>
                      <a:pt x="811" y="870"/>
                    </a:cubicBezTo>
                    <a:cubicBezTo>
                      <a:pt x="813" y="869"/>
                      <a:pt x="815" y="869"/>
                      <a:pt x="817" y="868"/>
                    </a:cubicBezTo>
                    <a:cubicBezTo>
                      <a:pt x="818" y="868"/>
                      <a:pt x="820" y="867"/>
                      <a:pt x="821" y="867"/>
                    </a:cubicBezTo>
                    <a:cubicBezTo>
                      <a:pt x="823" y="866"/>
                      <a:pt x="825" y="866"/>
                      <a:pt x="827" y="865"/>
                    </a:cubicBezTo>
                    <a:cubicBezTo>
                      <a:pt x="828" y="865"/>
                      <a:pt x="830" y="864"/>
                      <a:pt x="831" y="864"/>
                    </a:cubicBezTo>
                    <a:cubicBezTo>
                      <a:pt x="833" y="863"/>
                      <a:pt x="835" y="862"/>
                      <a:pt x="837" y="862"/>
                    </a:cubicBezTo>
                    <a:cubicBezTo>
                      <a:pt x="838" y="861"/>
                      <a:pt x="839" y="861"/>
                      <a:pt x="840" y="860"/>
                    </a:cubicBezTo>
                    <a:cubicBezTo>
                      <a:pt x="842" y="859"/>
                      <a:pt x="844" y="859"/>
                      <a:pt x="846" y="858"/>
                    </a:cubicBezTo>
                    <a:cubicBezTo>
                      <a:pt x="847" y="857"/>
                      <a:pt x="848" y="857"/>
                      <a:pt x="849" y="856"/>
                    </a:cubicBezTo>
                    <a:cubicBezTo>
                      <a:pt x="851" y="855"/>
                      <a:pt x="854" y="854"/>
                      <a:pt x="856" y="853"/>
                    </a:cubicBezTo>
                    <a:cubicBezTo>
                      <a:pt x="857" y="853"/>
                      <a:pt x="857" y="852"/>
                      <a:pt x="858" y="852"/>
                    </a:cubicBezTo>
                    <a:cubicBezTo>
                      <a:pt x="860" y="851"/>
                      <a:pt x="863" y="850"/>
                      <a:pt x="865" y="848"/>
                    </a:cubicBezTo>
                    <a:cubicBezTo>
                      <a:pt x="865" y="848"/>
                      <a:pt x="866" y="848"/>
                      <a:pt x="867" y="847"/>
                    </a:cubicBezTo>
                    <a:cubicBezTo>
                      <a:pt x="869" y="846"/>
                      <a:pt x="871" y="845"/>
                      <a:pt x="873" y="843"/>
                    </a:cubicBezTo>
                    <a:cubicBezTo>
                      <a:pt x="874" y="843"/>
                      <a:pt x="875" y="842"/>
                      <a:pt x="875" y="842"/>
                    </a:cubicBezTo>
                    <a:cubicBezTo>
                      <a:pt x="877" y="841"/>
                      <a:pt x="880" y="839"/>
                      <a:pt x="882" y="838"/>
                    </a:cubicBezTo>
                    <a:cubicBezTo>
                      <a:pt x="882" y="837"/>
                      <a:pt x="883" y="837"/>
                      <a:pt x="883" y="837"/>
                    </a:cubicBezTo>
                    <a:cubicBezTo>
                      <a:pt x="885" y="835"/>
                      <a:pt x="888" y="833"/>
                      <a:pt x="890" y="832"/>
                    </a:cubicBezTo>
                    <a:cubicBezTo>
                      <a:pt x="890" y="831"/>
                      <a:pt x="891" y="831"/>
                      <a:pt x="891" y="831"/>
                    </a:cubicBezTo>
                    <a:cubicBezTo>
                      <a:pt x="893" y="829"/>
                      <a:pt x="896" y="827"/>
                      <a:pt x="898" y="825"/>
                    </a:cubicBezTo>
                    <a:cubicBezTo>
                      <a:pt x="898" y="825"/>
                      <a:pt x="898" y="825"/>
                      <a:pt x="898" y="825"/>
                    </a:cubicBezTo>
                    <a:cubicBezTo>
                      <a:pt x="901" y="823"/>
                      <a:pt x="903" y="821"/>
                      <a:pt x="905" y="819"/>
                    </a:cubicBezTo>
                    <a:cubicBezTo>
                      <a:pt x="905" y="819"/>
                      <a:pt x="905" y="819"/>
                      <a:pt x="905" y="819"/>
                    </a:cubicBezTo>
                    <a:cubicBezTo>
                      <a:pt x="905" y="819"/>
                      <a:pt x="905" y="819"/>
                      <a:pt x="905" y="819"/>
                    </a:cubicBezTo>
                    <a:cubicBezTo>
                      <a:pt x="905" y="819"/>
                      <a:pt x="905" y="819"/>
                      <a:pt x="905" y="819"/>
                    </a:cubicBezTo>
                    <a:cubicBezTo>
                      <a:pt x="905" y="819"/>
                      <a:pt x="905" y="819"/>
                      <a:pt x="905" y="819"/>
                    </a:cubicBezTo>
                    <a:cubicBezTo>
                      <a:pt x="905" y="819"/>
                      <a:pt x="905" y="819"/>
                      <a:pt x="905" y="819"/>
                    </a:cubicBezTo>
                    <a:cubicBezTo>
                      <a:pt x="909" y="821"/>
                      <a:pt x="912" y="823"/>
                      <a:pt x="915" y="825"/>
                    </a:cubicBezTo>
                    <a:cubicBezTo>
                      <a:pt x="915" y="825"/>
                      <a:pt x="915" y="825"/>
                      <a:pt x="915" y="825"/>
                    </a:cubicBezTo>
                    <a:cubicBezTo>
                      <a:pt x="915" y="825"/>
                      <a:pt x="915" y="825"/>
                      <a:pt x="915" y="825"/>
                    </a:cubicBezTo>
                    <a:cubicBezTo>
                      <a:pt x="916" y="825"/>
                      <a:pt x="917" y="826"/>
                      <a:pt x="918" y="826"/>
                    </a:cubicBezTo>
                    <a:cubicBezTo>
                      <a:pt x="918" y="826"/>
                      <a:pt x="918" y="826"/>
                      <a:pt x="918" y="826"/>
                    </a:cubicBezTo>
                    <a:cubicBezTo>
                      <a:pt x="919" y="827"/>
                      <a:pt x="920" y="827"/>
                      <a:pt x="920" y="828"/>
                    </a:cubicBezTo>
                    <a:cubicBezTo>
                      <a:pt x="921" y="828"/>
                      <a:pt x="921" y="828"/>
                      <a:pt x="922" y="829"/>
                    </a:cubicBezTo>
                    <a:cubicBezTo>
                      <a:pt x="922" y="829"/>
                      <a:pt x="922" y="829"/>
                      <a:pt x="922" y="829"/>
                    </a:cubicBezTo>
                    <a:cubicBezTo>
                      <a:pt x="922" y="829"/>
                      <a:pt x="922" y="829"/>
                      <a:pt x="922" y="829"/>
                    </a:cubicBezTo>
                    <a:cubicBezTo>
                      <a:pt x="922" y="829"/>
                      <a:pt x="922" y="829"/>
                      <a:pt x="922" y="829"/>
                    </a:cubicBezTo>
                    <a:cubicBezTo>
                      <a:pt x="923" y="829"/>
                      <a:pt x="923" y="829"/>
                      <a:pt x="924" y="829"/>
                    </a:cubicBezTo>
                    <a:cubicBezTo>
                      <a:pt x="924" y="830"/>
                      <a:pt x="925" y="830"/>
                      <a:pt x="925" y="830"/>
                    </a:cubicBezTo>
                    <a:cubicBezTo>
                      <a:pt x="925" y="830"/>
                      <a:pt x="925" y="830"/>
                      <a:pt x="925" y="830"/>
                    </a:cubicBezTo>
                    <a:cubicBezTo>
                      <a:pt x="925" y="830"/>
                      <a:pt x="925" y="830"/>
                      <a:pt x="925" y="830"/>
                    </a:cubicBezTo>
                    <a:cubicBezTo>
                      <a:pt x="925" y="830"/>
                      <a:pt x="925" y="830"/>
                      <a:pt x="925" y="830"/>
                    </a:cubicBezTo>
                    <a:cubicBezTo>
                      <a:pt x="926" y="830"/>
                      <a:pt x="926" y="830"/>
                      <a:pt x="926" y="831"/>
                    </a:cubicBezTo>
                    <a:cubicBezTo>
                      <a:pt x="927" y="831"/>
                      <a:pt x="929" y="832"/>
                      <a:pt x="930" y="832"/>
                    </a:cubicBezTo>
                    <a:cubicBezTo>
                      <a:pt x="930" y="832"/>
                      <a:pt x="930" y="832"/>
                      <a:pt x="930" y="832"/>
                    </a:cubicBezTo>
                    <a:cubicBezTo>
                      <a:pt x="930" y="832"/>
                      <a:pt x="930" y="832"/>
                      <a:pt x="930" y="833"/>
                    </a:cubicBezTo>
                    <a:cubicBezTo>
                      <a:pt x="932" y="833"/>
                      <a:pt x="934" y="834"/>
                      <a:pt x="936" y="835"/>
                    </a:cubicBezTo>
                    <a:cubicBezTo>
                      <a:pt x="936" y="835"/>
                      <a:pt x="936" y="835"/>
                      <a:pt x="936" y="835"/>
                    </a:cubicBezTo>
                    <a:cubicBezTo>
                      <a:pt x="936" y="835"/>
                      <a:pt x="936" y="835"/>
                      <a:pt x="936" y="835"/>
                    </a:cubicBezTo>
                    <a:cubicBezTo>
                      <a:pt x="937" y="836"/>
                      <a:pt x="938" y="836"/>
                      <a:pt x="940" y="837"/>
                    </a:cubicBezTo>
                    <a:cubicBezTo>
                      <a:pt x="940" y="837"/>
                      <a:pt x="940" y="837"/>
                      <a:pt x="940" y="837"/>
                    </a:cubicBezTo>
                    <a:cubicBezTo>
                      <a:pt x="940" y="837"/>
                      <a:pt x="940" y="837"/>
                      <a:pt x="940" y="837"/>
                    </a:cubicBezTo>
                    <a:cubicBezTo>
                      <a:pt x="941" y="837"/>
                      <a:pt x="942" y="838"/>
                      <a:pt x="944" y="838"/>
                    </a:cubicBezTo>
                    <a:cubicBezTo>
                      <a:pt x="944" y="838"/>
                      <a:pt x="944" y="838"/>
                      <a:pt x="944" y="838"/>
                    </a:cubicBezTo>
                    <a:cubicBezTo>
                      <a:pt x="944" y="838"/>
                      <a:pt x="944" y="838"/>
                      <a:pt x="944" y="838"/>
                    </a:cubicBezTo>
                    <a:cubicBezTo>
                      <a:pt x="945" y="839"/>
                      <a:pt x="946" y="839"/>
                      <a:pt x="947" y="840"/>
                    </a:cubicBezTo>
                    <a:cubicBezTo>
                      <a:pt x="947" y="840"/>
                      <a:pt x="947" y="840"/>
                      <a:pt x="947" y="840"/>
                    </a:cubicBezTo>
                    <a:cubicBezTo>
                      <a:pt x="947" y="840"/>
                      <a:pt x="947" y="840"/>
                      <a:pt x="947" y="840"/>
                    </a:cubicBezTo>
                    <a:cubicBezTo>
                      <a:pt x="949" y="840"/>
                      <a:pt x="950" y="841"/>
                      <a:pt x="952" y="841"/>
                    </a:cubicBezTo>
                    <a:cubicBezTo>
                      <a:pt x="953" y="841"/>
                      <a:pt x="954" y="842"/>
                      <a:pt x="954" y="842"/>
                    </a:cubicBezTo>
                    <a:cubicBezTo>
                      <a:pt x="955" y="842"/>
                      <a:pt x="955" y="842"/>
                      <a:pt x="955" y="842"/>
                    </a:cubicBezTo>
                    <a:cubicBezTo>
                      <a:pt x="955" y="842"/>
                      <a:pt x="956" y="842"/>
                      <a:pt x="956" y="843"/>
                    </a:cubicBezTo>
                    <a:cubicBezTo>
                      <a:pt x="958" y="843"/>
                      <a:pt x="960" y="844"/>
                      <a:pt x="963" y="844"/>
                    </a:cubicBezTo>
                    <a:cubicBezTo>
                      <a:pt x="963" y="844"/>
                      <a:pt x="963" y="844"/>
                      <a:pt x="963" y="844"/>
                    </a:cubicBezTo>
                    <a:cubicBezTo>
                      <a:pt x="963" y="844"/>
                      <a:pt x="963" y="844"/>
                      <a:pt x="963" y="844"/>
                    </a:cubicBezTo>
                    <a:cubicBezTo>
                      <a:pt x="964" y="845"/>
                      <a:pt x="965" y="845"/>
                      <a:pt x="966" y="845"/>
                    </a:cubicBezTo>
                    <a:cubicBezTo>
                      <a:pt x="966" y="845"/>
                      <a:pt x="966" y="845"/>
                      <a:pt x="966" y="845"/>
                    </a:cubicBezTo>
                    <a:cubicBezTo>
                      <a:pt x="966" y="845"/>
                      <a:pt x="966" y="845"/>
                      <a:pt x="966" y="845"/>
                    </a:cubicBezTo>
                    <a:cubicBezTo>
                      <a:pt x="968" y="846"/>
                      <a:pt x="969" y="846"/>
                      <a:pt x="971" y="846"/>
                    </a:cubicBezTo>
                    <a:cubicBezTo>
                      <a:pt x="971" y="846"/>
                      <a:pt x="971" y="846"/>
                      <a:pt x="971" y="846"/>
                    </a:cubicBezTo>
                    <a:cubicBezTo>
                      <a:pt x="971" y="846"/>
                      <a:pt x="971" y="846"/>
                      <a:pt x="971" y="846"/>
                    </a:cubicBezTo>
                    <a:cubicBezTo>
                      <a:pt x="972" y="847"/>
                      <a:pt x="973" y="847"/>
                      <a:pt x="974" y="847"/>
                    </a:cubicBezTo>
                    <a:cubicBezTo>
                      <a:pt x="974" y="847"/>
                      <a:pt x="974" y="847"/>
                      <a:pt x="974" y="847"/>
                    </a:cubicBezTo>
                    <a:cubicBezTo>
                      <a:pt x="974" y="847"/>
                      <a:pt x="974" y="847"/>
                      <a:pt x="974" y="847"/>
                    </a:cubicBezTo>
                    <a:cubicBezTo>
                      <a:pt x="975" y="847"/>
                      <a:pt x="977" y="847"/>
                      <a:pt x="978" y="848"/>
                    </a:cubicBezTo>
                    <a:cubicBezTo>
                      <a:pt x="979" y="848"/>
                      <a:pt x="980" y="848"/>
                      <a:pt x="981" y="848"/>
                    </a:cubicBezTo>
                    <a:cubicBezTo>
                      <a:pt x="981" y="848"/>
                      <a:pt x="981" y="848"/>
                      <a:pt x="981" y="848"/>
                    </a:cubicBezTo>
                    <a:cubicBezTo>
                      <a:pt x="981" y="848"/>
                      <a:pt x="981" y="848"/>
                      <a:pt x="981" y="848"/>
                    </a:cubicBezTo>
                    <a:cubicBezTo>
                      <a:pt x="981" y="848"/>
                      <a:pt x="981" y="848"/>
                      <a:pt x="982" y="848"/>
                    </a:cubicBezTo>
                    <a:cubicBezTo>
                      <a:pt x="982" y="848"/>
                      <a:pt x="982" y="848"/>
                      <a:pt x="983" y="849"/>
                    </a:cubicBezTo>
                    <a:cubicBezTo>
                      <a:pt x="986" y="849"/>
                      <a:pt x="988" y="849"/>
                      <a:pt x="991" y="850"/>
                    </a:cubicBezTo>
                    <a:cubicBezTo>
                      <a:pt x="991" y="850"/>
                      <a:pt x="991" y="850"/>
                      <a:pt x="991" y="850"/>
                    </a:cubicBezTo>
                    <a:cubicBezTo>
                      <a:pt x="991" y="850"/>
                      <a:pt x="991" y="850"/>
                      <a:pt x="991" y="850"/>
                    </a:cubicBezTo>
                    <a:cubicBezTo>
                      <a:pt x="992" y="850"/>
                      <a:pt x="992" y="850"/>
                      <a:pt x="992" y="850"/>
                    </a:cubicBezTo>
                    <a:cubicBezTo>
                      <a:pt x="992" y="850"/>
                      <a:pt x="992" y="850"/>
                      <a:pt x="992" y="850"/>
                    </a:cubicBezTo>
                    <a:cubicBezTo>
                      <a:pt x="993" y="850"/>
                      <a:pt x="993" y="850"/>
                      <a:pt x="994" y="850"/>
                    </a:cubicBezTo>
                    <a:cubicBezTo>
                      <a:pt x="995" y="850"/>
                      <a:pt x="996" y="850"/>
                      <a:pt x="996" y="850"/>
                    </a:cubicBezTo>
                    <a:cubicBezTo>
                      <a:pt x="998" y="850"/>
                      <a:pt x="999" y="850"/>
                      <a:pt x="1000" y="850"/>
                    </a:cubicBezTo>
                    <a:cubicBezTo>
                      <a:pt x="1000" y="850"/>
                      <a:pt x="1000" y="850"/>
                      <a:pt x="1000" y="850"/>
                    </a:cubicBezTo>
                    <a:cubicBezTo>
                      <a:pt x="1000" y="850"/>
                      <a:pt x="1000" y="850"/>
                      <a:pt x="1000" y="850"/>
                    </a:cubicBezTo>
                    <a:cubicBezTo>
                      <a:pt x="1001" y="850"/>
                      <a:pt x="1002" y="850"/>
                      <a:pt x="1003" y="850"/>
                    </a:cubicBezTo>
                    <a:cubicBezTo>
                      <a:pt x="1003" y="850"/>
                      <a:pt x="1003" y="850"/>
                      <a:pt x="1003" y="850"/>
                    </a:cubicBezTo>
                    <a:cubicBezTo>
                      <a:pt x="1003" y="850"/>
                      <a:pt x="1003" y="850"/>
                      <a:pt x="1003" y="850"/>
                    </a:cubicBezTo>
                    <a:cubicBezTo>
                      <a:pt x="1005" y="851"/>
                      <a:pt x="1007" y="851"/>
                      <a:pt x="1010" y="851"/>
                    </a:cubicBezTo>
                    <a:cubicBezTo>
                      <a:pt x="1010" y="851"/>
                      <a:pt x="1011" y="851"/>
                      <a:pt x="1012" y="851"/>
                    </a:cubicBezTo>
                    <a:cubicBezTo>
                      <a:pt x="1012" y="851"/>
                      <a:pt x="1012" y="851"/>
                      <a:pt x="1012" y="851"/>
                    </a:cubicBezTo>
                    <a:cubicBezTo>
                      <a:pt x="1012" y="851"/>
                      <a:pt x="1012" y="851"/>
                      <a:pt x="1012" y="851"/>
                    </a:cubicBezTo>
                    <a:cubicBezTo>
                      <a:pt x="1013" y="851"/>
                      <a:pt x="1015" y="851"/>
                      <a:pt x="1016" y="851"/>
                    </a:cubicBezTo>
                    <a:cubicBezTo>
                      <a:pt x="1018" y="851"/>
                      <a:pt x="1020" y="851"/>
                      <a:pt x="1021" y="850"/>
                    </a:cubicBezTo>
                    <a:cubicBezTo>
                      <a:pt x="1021" y="850"/>
                      <a:pt x="1021" y="850"/>
                      <a:pt x="1021" y="850"/>
                    </a:cubicBezTo>
                    <a:cubicBezTo>
                      <a:pt x="1022" y="850"/>
                      <a:pt x="1023" y="850"/>
                      <a:pt x="1024" y="850"/>
                    </a:cubicBezTo>
                    <a:cubicBezTo>
                      <a:pt x="1024" y="850"/>
                      <a:pt x="1024" y="850"/>
                      <a:pt x="1025" y="850"/>
                    </a:cubicBezTo>
                    <a:cubicBezTo>
                      <a:pt x="1026" y="850"/>
                      <a:pt x="1027" y="850"/>
                      <a:pt x="1028" y="850"/>
                    </a:cubicBezTo>
                    <a:cubicBezTo>
                      <a:pt x="1029" y="850"/>
                      <a:pt x="1030" y="850"/>
                      <a:pt x="1031" y="850"/>
                    </a:cubicBezTo>
                    <a:cubicBezTo>
                      <a:pt x="1032" y="850"/>
                      <a:pt x="1033" y="849"/>
                      <a:pt x="1035" y="849"/>
                    </a:cubicBezTo>
                    <a:cubicBezTo>
                      <a:pt x="1035" y="849"/>
                      <a:pt x="1035" y="849"/>
                      <a:pt x="1035" y="849"/>
                    </a:cubicBezTo>
                    <a:cubicBezTo>
                      <a:pt x="1035" y="849"/>
                      <a:pt x="1035" y="849"/>
                      <a:pt x="1035" y="849"/>
                    </a:cubicBezTo>
                    <a:cubicBezTo>
                      <a:pt x="1035" y="849"/>
                      <a:pt x="1036" y="849"/>
                      <a:pt x="1037" y="849"/>
                    </a:cubicBezTo>
                    <a:cubicBezTo>
                      <a:pt x="1038" y="849"/>
                      <a:pt x="1039" y="849"/>
                      <a:pt x="1040" y="849"/>
                    </a:cubicBezTo>
                    <a:cubicBezTo>
                      <a:pt x="1042" y="848"/>
                      <a:pt x="1043" y="848"/>
                      <a:pt x="1044" y="848"/>
                    </a:cubicBezTo>
                    <a:cubicBezTo>
                      <a:pt x="1046" y="848"/>
                      <a:pt x="1048" y="847"/>
                      <a:pt x="1049" y="847"/>
                    </a:cubicBezTo>
                    <a:cubicBezTo>
                      <a:pt x="1051" y="847"/>
                      <a:pt x="1052" y="846"/>
                      <a:pt x="1053" y="846"/>
                    </a:cubicBezTo>
                    <a:cubicBezTo>
                      <a:pt x="1055" y="846"/>
                      <a:pt x="1056" y="846"/>
                      <a:pt x="1058" y="845"/>
                    </a:cubicBezTo>
                    <a:cubicBezTo>
                      <a:pt x="1058" y="845"/>
                      <a:pt x="1058" y="845"/>
                      <a:pt x="1059" y="845"/>
                    </a:cubicBezTo>
                    <a:cubicBezTo>
                      <a:pt x="1060" y="845"/>
                      <a:pt x="1061" y="844"/>
                      <a:pt x="1063" y="844"/>
                    </a:cubicBezTo>
                    <a:cubicBezTo>
                      <a:pt x="1063" y="844"/>
                      <a:pt x="1063" y="844"/>
                      <a:pt x="1063" y="844"/>
                    </a:cubicBezTo>
                    <a:cubicBezTo>
                      <a:pt x="1064" y="843"/>
                      <a:pt x="1066" y="843"/>
                      <a:pt x="1067" y="843"/>
                    </a:cubicBezTo>
                    <a:cubicBezTo>
                      <a:pt x="1067" y="843"/>
                      <a:pt x="1067" y="843"/>
                      <a:pt x="1067" y="843"/>
                    </a:cubicBezTo>
                    <a:cubicBezTo>
                      <a:pt x="1067" y="843"/>
                      <a:pt x="1067" y="843"/>
                      <a:pt x="1067" y="843"/>
                    </a:cubicBezTo>
                    <a:cubicBezTo>
                      <a:pt x="1069" y="842"/>
                      <a:pt x="1070" y="842"/>
                      <a:pt x="1071" y="841"/>
                    </a:cubicBezTo>
                    <a:cubicBezTo>
                      <a:pt x="1072" y="841"/>
                      <a:pt x="1073" y="841"/>
                      <a:pt x="1074" y="840"/>
                    </a:cubicBezTo>
                    <a:cubicBezTo>
                      <a:pt x="1074" y="840"/>
                      <a:pt x="1074" y="840"/>
                      <a:pt x="1074" y="840"/>
                    </a:cubicBezTo>
                    <a:cubicBezTo>
                      <a:pt x="1075" y="840"/>
                      <a:pt x="1075" y="840"/>
                      <a:pt x="1076" y="840"/>
                    </a:cubicBezTo>
                    <a:cubicBezTo>
                      <a:pt x="1077" y="839"/>
                      <a:pt x="1079" y="839"/>
                      <a:pt x="1080" y="838"/>
                    </a:cubicBezTo>
                    <a:cubicBezTo>
                      <a:pt x="1082" y="838"/>
                      <a:pt x="1083" y="837"/>
                      <a:pt x="1085" y="836"/>
                    </a:cubicBezTo>
                    <a:cubicBezTo>
                      <a:pt x="1086" y="836"/>
                      <a:pt x="1087" y="835"/>
                      <a:pt x="1089" y="835"/>
                    </a:cubicBezTo>
                    <a:cubicBezTo>
                      <a:pt x="1090" y="834"/>
                      <a:pt x="1092" y="833"/>
                      <a:pt x="1093" y="833"/>
                    </a:cubicBezTo>
                    <a:cubicBezTo>
                      <a:pt x="1094" y="832"/>
                      <a:pt x="1096" y="832"/>
                      <a:pt x="1097" y="831"/>
                    </a:cubicBezTo>
                    <a:cubicBezTo>
                      <a:pt x="1098" y="830"/>
                      <a:pt x="1100" y="829"/>
                      <a:pt x="1101" y="829"/>
                    </a:cubicBezTo>
                    <a:cubicBezTo>
                      <a:pt x="1102" y="828"/>
                      <a:pt x="1104" y="827"/>
                      <a:pt x="1105" y="827"/>
                    </a:cubicBezTo>
                    <a:cubicBezTo>
                      <a:pt x="1106" y="826"/>
                      <a:pt x="1108" y="825"/>
                      <a:pt x="1109" y="824"/>
                    </a:cubicBezTo>
                    <a:cubicBezTo>
                      <a:pt x="1110" y="824"/>
                      <a:pt x="1111" y="823"/>
                      <a:pt x="1113" y="822"/>
                    </a:cubicBezTo>
                    <a:cubicBezTo>
                      <a:pt x="1114" y="822"/>
                      <a:pt x="1115" y="821"/>
                      <a:pt x="1116" y="820"/>
                    </a:cubicBezTo>
                    <a:cubicBezTo>
                      <a:pt x="1116" y="820"/>
                      <a:pt x="1116" y="820"/>
                      <a:pt x="1117" y="820"/>
                    </a:cubicBezTo>
                    <a:cubicBezTo>
                      <a:pt x="1117" y="820"/>
                      <a:pt x="1117" y="820"/>
                      <a:pt x="1117" y="820"/>
                    </a:cubicBezTo>
                    <a:cubicBezTo>
                      <a:pt x="1117" y="820"/>
                      <a:pt x="1117" y="820"/>
                      <a:pt x="1117" y="820"/>
                    </a:cubicBezTo>
                    <a:cubicBezTo>
                      <a:pt x="1118" y="819"/>
                      <a:pt x="1118" y="819"/>
                      <a:pt x="1119" y="818"/>
                    </a:cubicBezTo>
                    <a:cubicBezTo>
                      <a:pt x="1119" y="818"/>
                      <a:pt x="1120" y="818"/>
                      <a:pt x="1120" y="817"/>
                    </a:cubicBezTo>
                    <a:cubicBezTo>
                      <a:pt x="1120" y="817"/>
                      <a:pt x="1120" y="817"/>
                      <a:pt x="1120" y="817"/>
                    </a:cubicBezTo>
                    <a:cubicBezTo>
                      <a:pt x="1121" y="817"/>
                      <a:pt x="1121" y="817"/>
                      <a:pt x="1122" y="816"/>
                    </a:cubicBezTo>
                    <a:cubicBezTo>
                      <a:pt x="1123" y="816"/>
                      <a:pt x="1123" y="815"/>
                      <a:pt x="1124" y="814"/>
                    </a:cubicBezTo>
                    <a:cubicBezTo>
                      <a:pt x="1125" y="814"/>
                      <a:pt x="1126" y="813"/>
                      <a:pt x="1127" y="812"/>
                    </a:cubicBezTo>
                    <a:cubicBezTo>
                      <a:pt x="1129" y="811"/>
                      <a:pt x="1130" y="810"/>
                      <a:pt x="1132" y="809"/>
                    </a:cubicBezTo>
                    <a:cubicBezTo>
                      <a:pt x="1133" y="808"/>
                      <a:pt x="1134" y="807"/>
                      <a:pt x="1135" y="807"/>
                    </a:cubicBezTo>
                    <a:cubicBezTo>
                      <a:pt x="1135" y="807"/>
                      <a:pt x="1135" y="807"/>
                      <a:pt x="1135" y="807"/>
                    </a:cubicBezTo>
                    <a:cubicBezTo>
                      <a:pt x="1136" y="805"/>
                      <a:pt x="1137" y="804"/>
                      <a:pt x="1139" y="803"/>
                    </a:cubicBezTo>
                    <a:cubicBezTo>
                      <a:pt x="1140" y="802"/>
                      <a:pt x="1140" y="802"/>
                      <a:pt x="1140" y="802"/>
                    </a:cubicBezTo>
                    <a:cubicBezTo>
                      <a:pt x="1141" y="801"/>
                      <a:pt x="1141" y="801"/>
                      <a:pt x="1141" y="801"/>
                    </a:cubicBezTo>
                    <a:cubicBezTo>
                      <a:pt x="1158" y="801"/>
                      <a:pt x="1171" y="801"/>
                      <a:pt x="1179" y="801"/>
                    </a:cubicBezTo>
                    <a:cubicBezTo>
                      <a:pt x="1179" y="801"/>
                      <a:pt x="1179" y="801"/>
                      <a:pt x="1179" y="801"/>
                    </a:cubicBezTo>
                    <a:cubicBezTo>
                      <a:pt x="1183" y="801"/>
                      <a:pt x="1186" y="801"/>
                      <a:pt x="1189" y="800"/>
                    </a:cubicBezTo>
                    <a:cubicBezTo>
                      <a:pt x="1191" y="800"/>
                      <a:pt x="1192" y="800"/>
                      <a:pt x="1194" y="800"/>
                    </a:cubicBezTo>
                    <a:cubicBezTo>
                      <a:pt x="1196" y="800"/>
                      <a:pt x="1198" y="800"/>
                      <a:pt x="1199" y="800"/>
                    </a:cubicBezTo>
                    <a:cubicBezTo>
                      <a:pt x="1201" y="800"/>
                      <a:pt x="1203" y="799"/>
                      <a:pt x="1205" y="799"/>
                    </a:cubicBezTo>
                    <a:cubicBezTo>
                      <a:pt x="1206" y="799"/>
                      <a:pt x="1208" y="799"/>
                      <a:pt x="1209" y="799"/>
                    </a:cubicBezTo>
                    <a:cubicBezTo>
                      <a:pt x="1210" y="798"/>
                      <a:pt x="1210" y="798"/>
                      <a:pt x="1211" y="798"/>
                    </a:cubicBezTo>
                    <a:cubicBezTo>
                      <a:pt x="1212" y="798"/>
                      <a:pt x="1214" y="798"/>
                      <a:pt x="1216" y="797"/>
                    </a:cubicBezTo>
                    <a:cubicBezTo>
                      <a:pt x="1216" y="797"/>
                      <a:pt x="1217" y="797"/>
                      <a:pt x="1218" y="797"/>
                    </a:cubicBezTo>
                    <a:cubicBezTo>
                      <a:pt x="1221" y="796"/>
                      <a:pt x="1223" y="796"/>
                      <a:pt x="1226" y="795"/>
                    </a:cubicBezTo>
                    <a:cubicBezTo>
                      <a:pt x="1226" y="795"/>
                      <a:pt x="1227" y="795"/>
                      <a:pt x="1228" y="795"/>
                    </a:cubicBezTo>
                    <a:cubicBezTo>
                      <a:pt x="1229" y="795"/>
                      <a:pt x="1230" y="795"/>
                      <a:pt x="1231" y="794"/>
                    </a:cubicBezTo>
                    <a:cubicBezTo>
                      <a:pt x="1232" y="794"/>
                      <a:pt x="1234" y="793"/>
                      <a:pt x="1235" y="793"/>
                    </a:cubicBezTo>
                    <a:cubicBezTo>
                      <a:pt x="1236" y="793"/>
                      <a:pt x="1236" y="793"/>
                      <a:pt x="1236" y="793"/>
                    </a:cubicBezTo>
                    <a:cubicBezTo>
                      <a:pt x="1239" y="792"/>
                      <a:pt x="1242" y="791"/>
                      <a:pt x="1245" y="790"/>
                    </a:cubicBezTo>
                    <a:cubicBezTo>
                      <a:pt x="1245" y="790"/>
                      <a:pt x="1245" y="790"/>
                      <a:pt x="1245" y="790"/>
                    </a:cubicBezTo>
                    <a:cubicBezTo>
                      <a:pt x="1250" y="788"/>
                      <a:pt x="1255" y="787"/>
                      <a:pt x="1259" y="785"/>
                    </a:cubicBezTo>
                    <a:cubicBezTo>
                      <a:pt x="1265" y="782"/>
                      <a:pt x="1271" y="780"/>
                      <a:pt x="1276" y="777"/>
                    </a:cubicBezTo>
                    <a:cubicBezTo>
                      <a:pt x="1276" y="777"/>
                      <a:pt x="1276" y="777"/>
                      <a:pt x="1276" y="777"/>
                    </a:cubicBezTo>
                    <a:cubicBezTo>
                      <a:pt x="1277" y="776"/>
                      <a:pt x="1277" y="776"/>
                      <a:pt x="1278" y="776"/>
                    </a:cubicBezTo>
                    <a:cubicBezTo>
                      <a:pt x="1281" y="774"/>
                      <a:pt x="1285" y="772"/>
                      <a:pt x="1288" y="770"/>
                    </a:cubicBezTo>
                    <a:cubicBezTo>
                      <a:pt x="1288" y="770"/>
                      <a:pt x="1288" y="770"/>
                      <a:pt x="1289" y="769"/>
                    </a:cubicBezTo>
                    <a:cubicBezTo>
                      <a:pt x="1291" y="768"/>
                      <a:pt x="1292" y="767"/>
                      <a:pt x="1294" y="766"/>
                    </a:cubicBezTo>
                    <a:cubicBezTo>
                      <a:pt x="1295" y="765"/>
                      <a:pt x="1297" y="764"/>
                      <a:pt x="1298" y="763"/>
                    </a:cubicBezTo>
                    <a:cubicBezTo>
                      <a:pt x="1298" y="763"/>
                      <a:pt x="1298" y="763"/>
                      <a:pt x="1299" y="763"/>
                    </a:cubicBezTo>
                    <a:cubicBezTo>
                      <a:pt x="1299" y="762"/>
                      <a:pt x="1300" y="762"/>
                      <a:pt x="1300" y="762"/>
                    </a:cubicBezTo>
                    <a:cubicBezTo>
                      <a:pt x="1303" y="760"/>
                      <a:pt x="1305" y="758"/>
                      <a:pt x="1308" y="756"/>
                    </a:cubicBezTo>
                    <a:cubicBezTo>
                      <a:pt x="1309" y="755"/>
                      <a:pt x="1309" y="755"/>
                      <a:pt x="1310" y="754"/>
                    </a:cubicBezTo>
                    <a:cubicBezTo>
                      <a:pt x="1311" y="753"/>
                      <a:pt x="1312" y="753"/>
                      <a:pt x="1313" y="752"/>
                    </a:cubicBezTo>
                    <a:cubicBezTo>
                      <a:pt x="1313" y="751"/>
                      <a:pt x="1314" y="751"/>
                      <a:pt x="1314" y="751"/>
                    </a:cubicBezTo>
                    <a:cubicBezTo>
                      <a:pt x="1315" y="750"/>
                      <a:pt x="1316" y="749"/>
                      <a:pt x="1317" y="748"/>
                    </a:cubicBezTo>
                    <a:cubicBezTo>
                      <a:pt x="1318" y="747"/>
                      <a:pt x="1318" y="747"/>
                      <a:pt x="1319" y="746"/>
                    </a:cubicBezTo>
                    <a:cubicBezTo>
                      <a:pt x="1320" y="745"/>
                      <a:pt x="1321" y="745"/>
                      <a:pt x="1322" y="744"/>
                    </a:cubicBezTo>
                    <a:cubicBezTo>
                      <a:pt x="1323" y="742"/>
                      <a:pt x="1325" y="741"/>
                      <a:pt x="1326" y="740"/>
                    </a:cubicBezTo>
                    <a:cubicBezTo>
                      <a:pt x="1326" y="739"/>
                      <a:pt x="1326" y="739"/>
                      <a:pt x="1327" y="739"/>
                    </a:cubicBezTo>
                    <a:cubicBezTo>
                      <a:pt x="1327" y="739"/>
                      <a:pt x="1327" y="739"/>
                      <a:pt x="1327" y="739"/>
                    </a:cubicBezTo>
                    <a:cubicBezTo>
                      <a:pt x="1327" y="738"/>
                      <a:pt x="1328" y="738"/>
                      <a:pt x="1328" y="737"/>
                    </a:cubicBezTo>
                    <a:cubicBezTo>
                      <a:pt x="1330" y="735"/>
                      <a:pt x="1332" y="733"/>
                      <a:pt x="1334" y="731"/>
                    </a:cubicBezTo>
                    <a:cubicBezTo>
                      <a:pt x="1334" y="731"/>
                      <a:pt x="1334" y="730"/>
                      <a:pt x="1335" y="730"/>
                    </a:cubicBezTo>
                    <a:cubicBezTo>
                      <a:pt x="1336" y="729"/>
                      <a:pt x="1338" y="727"/>
                      <a:pt x="1339" y="725"/>
                    </a:cubicBezTo>
                    <a:cubicBezTo>
                      <a:pt x="1339" y="725"/>
                      <a:pt x="1339" y="725"/>
                      <a:pt x="1339" y="725"/>
                    </a:cubicBezTo>
                    <a:cubicBezTo>
                      <a:pt x="1341" y="723"/>
                      <a:pt x="1342" y="721"/>
                      <a:pt x="1344" y="719"/>
                    </a:cubicBezTo>
                    <a:cubicBezTo>
                      <a:pt x="1344" y="719"/>
                      <a:pt x="1344" y="719"/>
                      <a:pt x="1344" y="719"/>
                    </a:cubicBezTo>
                    <a:cubicBezTo>
                      <a:pt x="1344" y="719"/>
                      <a:pt x="1344" y="719"/>
                      <a:pt x="1344" y="719"/>
                    </a:cubicBezTo>
                    <a:cubicBezTo>
                      <a:pt x="1344" y="719"/>
                      <a:pt x="1344" y="719"/>
                      <a:pt x="1344" y="718"/>
                    </a:cubicBezTo>
                    <a:cubicBezTo>
                      <a:pt x="1346" y="716"/>
                      <a:pt x="1348" y="714"/>
                      <a:pt x="1349" y="712"/>
                    </a:cubicBezTo>
                    <a:cubicBezTo>
                      <a:pt x="1349" y="711"/>
                      <a:pt x="1349" y="711"/>
                      <a:pt x="1349" y="711"/>
                    </a:cubicBezTo>
                    <a:cubicBezTo>
                      <a:pt x="1350" y="710"/>
                      <a:pt x="1350" y="710"/>
                      <a:pt x="1351" y="709"/>
                    </a:cubicBezTo>
                    <a:cubicBezTo>
                      <a:pt x="1352" y="707"/>
                      <a:pt x="1353" y="706"/>
                      <a:pt x="1354" y="704"/>
                    </a:cubicBezTo>
                    <a:cubicBezTo>
                      <a:pt x="1355" y="703"/>
                      <a:pt x="1355" y="702"/>
                      <a:pt x="1356" y="701"/>
                    </a:cubicBezTo>
                    <a:cubicBezTo>
                      <a:pt x="1357" y="699"/>
                      <a:pt x="1358" y="698"/>
                      <a:pt x="1359" y="696"/>
                    </a:cubicBezTo>
                    <a:cubicBezTo>
                      <a:pt x="1359" y="695"/>
                      <a:pt x="1359" y="695"/>
                      <a:pt x="1360" y="694"/>
                    </a:cubicBezTo>
                    <a:cubicBezTo>
                      <a:pt x="1360" y="694"/>
                      <a:pt x="1360" y="693"/>
                      <a:pt x="1361" y="692"/>
                    </a:cubicBezTo>
                    <a:cubicBezTo>
                      <a:pt x="1362" y="691"/>
                      <a:pt x="1362" y="689"/>
                      <a:pt x="1363" y="688"/>
                    </a:cubicBezTo>
                    <a:cubicBezTo>
                      <a:pt x="1364" y="687"/>
                      <a:pt x="1364" y="686"/>
                      <a:pt x="1364" y="686"/>
                    </a:cubicBezTo>
                    <a:cubicBezTo>
                      <a:pt x="1365" y="685"/>
                      <a:pt x="1365" y="685"/>
                      <a:pt x="1365" y="684"/>
                    </a:cubicBezTo>
                    <a:cubicBezTo>
                      <a:pt x="1366" y="682"/>
                      <a:pt x="1367" y="681"/>
                      <a:pt x="1367" y="679"/>
                    </a:cubicBezTo>
                    <a:cubicBezTo>
                      <a:pt x="1368" y="678"/>
                      <a:pt x="1368" y="677"/>
                      <a:pt x="1369" y="676"/>
                    </a:cubicBezTo>
                    <a:cubicBezTo>
                      <a:pt x="1370" y="674"/>
                      <a:pt x="1370" y="672"/>
                      <a:pt x="1371" y="670"/>
                    </a:cubicBezTo>
                    <a:cubicBezTo>
                      <a:pt x="1371" y="669"/>
                      <a:pt x="1372" y="668"/>
                      <a:pt x="1372" y="667"/>
                    </a:cubicBezTo>
                    <a:cubicBezTo>
                      <a:pt x="1372" y="667"/>
                      <a:pt x="1372" y="667"/>
                      <a:pt x="1372" y="667"/>
                    </a:cubicBezTo>
                    <a:cubicBezTo>
                      <a:pt x="1373" y="664"/>
                      <a:pt x="1374" y="662"/>
                      <a:pt x="1375" y="659"/>
                    </a:cubicBezTo>
                    <a:cubicBezTo>
                      <a:pt x="1375" y="658"/>
                      <a:pt x="1375" y="658"/>
                      <a:pt x="1375" y="658"/>
                    </a:cubicBezTo>
                    <a:cubicBezTo>
                      <a:pt x="1375" y="658"/>
                      <a:pt x="1375" y="658"/>
                      <a:pt x="1375" y="658"/>
                    </a:cubicBezTo>
                    <a:cubicBezTo>
                      <a:pt x="1375" y="658"/>
                      <a:pt x="1375" y="658"/>
                      <a:pt x="1375" y="658"/>
                    </a:cubicBezTo>
                    <a:cubicBezTo>
                      <a:pt x="1376" y="655"/>
                      <a:pt x="1377" y="652"/>
                      <a:pt x="1378" y="649"/>
                    </a:cubicBezTo>
                    <a:cubicBezTo>
                      <a:pt x="1378" y="648"/>
                      <a:pt x="1378" y="648"/>
                      <a:pt x="1378" y="648"/>
                    </a:cubicBezTo>
                    <a:cubicBezTo>
                      <a:pt x="1378" y="647"/>
                      <a:pt x="1378" y="647"/>
                      <a:pt x="1378" y="647"/>
                    </a:cubicBezTo>
                    <a:cubicBezTo>
                      <a:pt x="1378" y="647"/>
                      <a:pt x="1378" y="647"/>
                      <a:pt x="1378" y="647"/>
                    </a:cubicBezTo>
                    <a:cubicBezTo>
                      <a:pt x="1379" y="645"/>
                      <a:pt x="1379" y="644"/>
                      <a:pt x="1379" y="642"/>
                    </a:cubicBezTo>
                    <a:cubicBezTo>
                      <a:pt x="1380" y="642"/>
                      <a:pt x="1380" y="641"/>
                      <a:pt x="1380" y="640"/>
                    </a:cubicBezTo>
                    <a:cubicBezTo>
                      <a:pt x="1380" y="639"/>
                      <a:pt x="1380" y="638"/>
                      <a:pt x="1381" y="638"/>
                    </a:cubicBezTo>
                    <a:cubicBezTo>
                      <a:pt x="1381" y="638"/>
                      <a:pt x="1381" y="638"/>
                      <a:pt x="1381" y="638"/>
                    </a:cubicBezTo>
                    <a:cubicBezTo>
                      <a:pt x="1381" y="635"/>
                      <a:pt x="1382" y="632"/>
                      <a:pt x="1382" y="629"/>
                    </a:cubicBezTo>
                    <a:cubicBezTo>
                      <a:pt x="1382" y="629"/>
                      <a:pt x="1382" y="629"/>
                      <a:pt x="1382" y="629"/>
                    </a:cubicBezTo>
                    <a:cubicBezTo>
                      <a:pt x="1382" y="629"/>
                      <a:pt x="1382" y="629"/>
                      <a:pt x="1382" y="629"/>
                    </a:cubicBezTo>
                    <a:cubicBezTo>
                      <a:pt x="1382" y="629"/>
                      <a:pt x="1382" y="629"/>
                      <a:pt x="1382" y="628"/>
                    </a:cubicBezTo>
                    <a:cubicBezTo>
                      <a:pt x="1382" y="628"/>
                      <a:pt x="1382" y="628"/>
                      <a:pt x="1382" y="628"/>
                    </a:cubicBezTo>
                    <a:cubicBezTo>
                      <a:pt x="1383" y="625"/>
                      <a:pt x="1383" y="623"/>
                      <a:pt x="1383" y="620"/>
                    </a:cubicBezTo>
                    <a:cubicBezTo>
                      <a:pt x="1383" y="620"/>
                      <a:pt x="1383" y="620"/>
                      <a:pt x="1383" y="619"/>
                    </a:cubicBezTo>
                    <a:cubicBezTo>
                      <a:pt x="1383" y="619"/>
                      <a:pt x="1383" y="619"/>
                      <a:pt x="1383" y="618"/>
                    </a:cubicBezTo>
                    <a:cubicBezTo>
                      <a:pt x="1384" y="617"/>
                      <a:pt x="1384" y="617"/>
                      <a:pt x="1384" y="617"/>
                    </a:cubicBezTo>
                    <a:cubicBezTo>
                      <a:pt x="1384" y="614"/>
                      <a:pt x="1384" y="612"/>
                      <a:pt x="1384" y="610"/>
                    </a:cubicBezTo>
                    <a:cubicBezTo>
                      <a:pt x="1384" y="610"/>
                      <a:pt x="1384" y="610"/>
                      <a:pt x="1384" y="610"/>
                    </a:cubicBezTo>
                    <a:cubicBezTo>
                      <a:pt x="1384" y="610"/>
                      <a:pt x="1384" y="610"/>
                      <a:pt x="1384" y="609"/>
                    </a:cubicBezTo>
                    <a:cubicBezTo>
                      <a:pt x="1384" y="609"/>
                      <a:pt x="1384" y="608"/>
                      <a:pt x="1384" y="607"/>
                    </a:cubicBezTo>
                    <a:cubicBezTo>
                      <a:pt x="1384" y="604"/>
                      <a:pt x="1384" y="601"/>
                      <a:pt x="1384" y="598"/>
                    </a:cubicBezTo>
                    <a:cubicBezTo>
                      <a:pt x="1384" y="598"/>
                      <a:pt x="1384" y="598"/>
                      <a:pt x="1384" y="598"/>
                    </a:cubicBezTo>
                    <a:cubicBezTo>
                      <a:pt x="1384" y="597"/>
                      <a:pt x="1384" y="597"/>
                      <a:pt x="1384" y="59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9">
                <a:extLst>
                  <a:ext uri="{FF2B5EF4-FFF2-40B4-BE49-F238E27FC236}">
                    <a16:creationId xmlns:a16="http://schemas.microsoft.com/office/drawing/2014/main" id="{3054D200-87E7-4AC9-902A-FA59037D2B74}"/>
                  </a:ext>
                </a:extLst>
              </p:cNvPr>
              <p:cNvSpPr>
                <a:spLocks noChangeArrowheads="1"/>
              </p:cNvSpPr>
              <p:nvPr/>
            </p:nvSpPr>
            <p:spPr bwMode="auto">
              <a:xfrm>
                <a:off x="5495163" y="2881121"/>
                <a:ext cx="1201674" cy="1095756"/>
              </a:xfrm>
              <a:custGeom>
                <a:avLst/>
                <a:gdLst>
                  <a:gd name="connsiteX0" fmla="*/ 75248 w 1201674"/>
                  <a:gd name="connsiteY0" fmla="*/ 995934 h 1095756"/>
                  <a:gd name="connsiteX1" fmla="*/ 32385 w 1201674"/>
                  <a:gd name="connsiteY1" fmla="*/ 1030224 h 1095756"/>
                  <a:gd name="connsiteX2" fmla="*/ 75248 w 1201674"/>
                  <a:gd name="connsiteY2" fmla="*/ 1064514 h 1095756"/>
                  <a:gd name="connsiteX3" fmla="*/ 118110 w 1201674"/>
                  <a:gd name="connsiteY3" fmla="*/ 1030224 h 1095756"/>
                  <a:gd name="connsiteX4" fmla="*/ 75248 w 1201674"/>
                  <a:gd name="connsiteY4" fmla="*/ 995934 h 1095756"/>
                  <a:gd name="connsiteX5" fmla="*/ 75057 w 1201674"/>
                  <a:gd name="connsiteY5" fmla="*/ 965073 h 1095756"/>
                  <a:gd name="connsiteX6" fmla="*/ 150114 w 1201674"/>
                  <a:gd name="connsiteY6" fmla="*/ 1030415 h 1095756"/>
                  <a:gd name="connsiteX7" fmla="*/ 75057 w 1201674"/>
                  <a:gd name="connsiteY7" fmla="*/ 1095756 h 1095756"/>
                  <a:gd name="connsiteX8" fmla="*/ 0 w 1201674"/>
                  <a:gd name="connsiteY8" fmla="*/ 1030415 h 1095756"/>
                  <a:gd name="connsiteX9" fmla="*/ 75057 w 1201674"/>
                  <a:gd name="connsiteY9" fmla="*/ 965073 h 1095756"/>
                  <a:gd name="connsiteX10" fmla="*/ 219432 w 1201674"/>
                  <a:gd name="connsiteY10" fmla="*/ 805815 h 1095756"/>
                  <a:gd name="connsiteX11" fmla="*/ 134493 w 1201674"/>
                  <a:gd name="connsiteY11" fmla="*/ 870800 h 1095756"/>
                  <a:gd name="connsiteX12" fmla="*/ 219432 w 1201674"/>
                  <a:gd name="connsiteY12" fmla="*/ 936498 h 1095756"/>
                  <a:gd name="connsiteX13" fmla="*/ 303657 w 1201674"/>
                  <a:gd name="connsiteY13" fmla="*/ 870800 h 1095756"/>
                  <a:gd name="connsiteX14" fmla="*/ 219432 w 1201674"/>
                  <a:gd name="connsiteY14" fmla="*/ 805815 h 1095756"/>
                  <a:gd name="connsiteX15" fmla="*/ 219242 w 1201674"/>
                  <a:gd name="connsiteY15" fmla="*/ 774192 h 1095756"/>
                  <a:gd name="connsiteX16" fmla="*/ 298521 w 1201674"/>
                  <a:gd name="connsiteY16" fmla="*/ 800617 h 1095756"/>
                  <a:gd name="connsiteX17" fmla="*/ 335661 w 1201674"/>
                  <a:gd name="connsiteY17" fmla="*/ 870609 h 1095756"/>
                  <a:gd name="connsiteX18" fmla="*/ 298521 w 1201674"/>
                  <a:gd name="connsiteY18" fmla="*/ 942029 h 1095756"/>
                  <a:gd name="connsiteX19" fmla="*/ 219242 w 1201674"/>
                  <a:gd name="connsiteY19" fmla="*/ 967740 h 1095756"/>
                  <a:gd name="connsiteX20" fmla="*/ 139962 w 1201674"/>
                  <a:gd name="connsiteY20" fmla="*/ 942029 h 1095756"/>
                  <a:gd name="connsiteX21" fmla="*/ 102108 w 1201674"/>
                  <a:gd name="connsiteY21" fmla="*/ 870609 h 1095756"/>
                  <a:gd name="connsiteX22" fmla="*/ 139962 w 1201674"/>
                  <a:gd name="connsiteY22" fmla="*/ 800617 h 1095756"/>
                  <a:gd name="connsiteX23" fmla="*/ 219242 w 1201674"/>
                  <a:gd name="connsiteY23" fmla="*/ 774192 h 1095756"/>
                  <a:gd name="connsiteX24" fmla="*/ 503006 w 1201674"/>
                  <a:gd name="connsiteY24" fmla="*/ 31242 h 1095756"/>
                  <a:gd name="connsiteX25" fmla="*/ 329460 w 1201674"/>
                  <a:gd name="connsiteY25" fmla="*/ 106976 h 1095756"/>
                  <a:gd name="connsiteX26" fmla="*/ 322318 w 1201674"/>
                  <a:gd name="connsiteY26" fmla="*/ 115549 h 1095756"/>
                  <a:gd name="connsiteX27" fmla="*/ 308749 w 1201674"/>
                  <a:gd name="connsiteY27" fmla="*/ 134126 h 1095756"/>
                  <a:gd name="connsiteX28" fmla="*/ 268755 w 1201674"/>
                  <a:gd name="connsiteY28" fmla="*/ 259158 h 1095756"/>
                  <a:gd name="connsiteX29" fmla="*/ 262327 w 1201674"/>
                  <a:gd name="connsiteY29" fmla="*/ 261301 h 1095756"/>
                  <a:gd name="connsiteX30" fmla="*/ 238759 w 1201674"/>
                  <a:gd name="connsiteY30" fmla="*/ 270589 h 1095756"/>
                  <a:gd name="connsiteX31" fmla="*/ 222333 w 1201674"/>
                  <a:gd name="connsiteY31" fmla="*/ 278449 h 1095756"/>
                  <a:gd name="connsiteX32" fmla="*/ 204478 w 1201674"/>
                  <a:gd name="connsiteY32" fmla="*/ 289880 h 1095756"/>
                  <a:gd name="connsiteX33" fmla="*/ 200908 w 1201674"/>
                  <a:gd name="connsiteY33" fmla="*/ 292738 h 1095756"/>
                  <a:gd name="connsiteX34" fmla="*/ 182339 w 1201674"/>
                  <a:gd name="connsiteY34" fmla="*/ 308456 h 1095756"/>
                  <a:gd name="connsiteX35" fmla="*/ 181625 w 1201674"/>
                  <a:gd name="connsiteY35" fmla="*/ 309171 h 1095756"/>
                  <a:gd name="connsiteX36" fmla="*/ 171626 w 1201674"/>
                  <a:gd name="connsiteY36" fmla="*/ 319173 h 1095756"/>
                  <a:gd name="connsiteX37" fmla="*/ 165913 w 1201674"/>
                  <a:gd name="connsiteY37" fmla="*/ 325604 h 1095756"/>
                  <a:gd name="connsiteX38" fmla="*/ 157343 w 1201674"/>
                  <a:gd name="connsiteY38" fmla="*/ 336321 h 1095756"/>
                  <a:gd name="connsiteX39" fmla="*/ 147344 w 1201674"/>
                  <a:gd name="connsiteY39" fmla="*/ 351325 h 1095756"/>
                  <a:gd name="connsiteX40" fmla="*/ 140916 w 1201674"/>
                  <a:gd name="connsiteY40" fmla="*/ 362042 h 1095756"/>
                  <a:gd name="connsiteX41" fmla="*/ 128061 w 1201674"/>
                  <a:gd name="connsiteY41" fmla="*/ 393478 h 1095756"/>
                  <a:gd name="connsiteX42" fmla="*/ 117348 w 1201674"/>
                  <a:gd name="connsiteY42" fmla="*/ 459210 h 1095756"/>
                  <a:gd name="connsiteX43" fmla="*/ 117348 w 1201674"/>
                  <a:gd name="connsiteY43" fmla="*/ 469212 h 1095756"/>
                  <a:gd name="connsiteX44" fmla="*/ 117348 w 1201674"/>
                  <a:gd name="connsiteY44" fmla="*/ 471356 h 1095756"/>
                  <a:gd name="connsiteX45" fmla="*/ 117348 w 1201674"/>
                  <a:gd name="connsiteY45" fmla="*/ 472070 h 1095756"/>
                  <a:gd name="connsiteX46" fmla="*/ 118063 w 1201674"/>
                  <a:gd name="connsiteY46" fmla="*/ 478500 h 1095756"/>
                  <a:gd name="connsiteX47" fmla="*/ 118063 w 1201674"/>
                  <a:gd name="connsiteY47" fmla="*/ 482072 h 1095756"/>
                  <a:gd name="connsiteX48" fmla="*/ 119491 w 1201674"/>
                  <a:gd name="connsiteY48" fmla="*/ 488503 h 1095756"/>
                  <a:gd name="connsiteX49" fmla="*/ 119491 w 1201674"/>
                  <a:gd name="connsiteY49" fmla="*/ 492075 h 1095756"/>
                  <a:gd name="connsiteX50" fmla="*/ 120919 w 1201674"/>
                  <a:gd name="connsiteY50" fmla="*/ 500649 h 1095756"/>
                  <a:gd name="connsiteX51" fmla="*/ 121634 w 1201674"/>
                  <a:gd name="connsiteY51" fmla="*/ 502078 h 1095756"/>
                  <a:gd name="connsiteX52" fmla="*/ 123776 w 1201674"/>
                  <a:gd name="connsiteY52" fmla="*/ 511366 h 1095756"/>
                  <a:gd name="connsiteX53" fmla="*/ 124490 w 1201674"/>
                  <a:gd name="connsiteY53" fmla="*/ 514224 h 1095756"/>
                  <a:gd name="connsiteX54" fmla="*/ 125919 w 1201674"/>
                  <a:gd name="connsiteY54" fmla="*/ 520654 h 1095756"/>
                  <a:gd name="connsiteX55" fmla="*/ 127347 w 1201674"/>
                  <a:gd name="connsiteY55" fmla="*/ 523512 h 1095756"/>
                  <a:gd name="connsiteX56" fmla="*/ 129489 w 1201674"/>
                  <a:gd name="connsiteY56" fmla="*/ 529942 h 1095756"/>
                  <a:gd name="connsiteX57" fmla="*/ 130204 w 1201674"/>
                  <a:gd name="connsiteY57" fmla="*/ 532800 h 1095756"/>
                  <a:gd name="connsiteX58" fmla="*/ 133060 w 1201674"/>
                  <a:gd name="connsiteY58" fmla="*/ 539230 h 1095756"/>
                  <a:gd name="connsiteX59" fmla="*/ 133774 w 1201674"/>
                  <a:gd name="connsiteY59" fmla="*/ 541374 h 1095756"/>
                  <a:gd name="connsiteX60" fmla="*/ 138060 w 1201674"/>
                  <a:gd name="connsiteY60" fmla="*/ 549947 h 1095756"/>
                  <a:gd name="connsiteX61" fmla="*/ 138774 w 1201674"/>
                  <a:gd name="connsiteY61" fmla="*/ 552091 h 1095756"/>
                  <a:gd name="connsiteX62" fmla="*/ 141631 w 1201674"/>
                  <a:gd name="connsiteY62" fmla="*/ 558521 h 1095756"/>
                  <a:gd name="connsiteX63" fmla="*/ 143059 w 1201674"/>
                  <a:gd name="connsiteY63" fmla="*/ 560664 h 1095756"/>
                  <a:gd name="connsiteX64" fmla="*/ 143773 w 1201674"/>
                  <a:gd name="connsiteY64" fmla="*/ 561379 h 1095756"/>
                  <a:gd name="connsiteX65" fmla="*/ 146630 w 1201674"/>
                  <a:gd name="connsiteY65" fmla="*/ 566380 h 1095756"/>
                  <a:gd name="connsiteX66" fmla="*/ 148058 w 1201674"/>
                  <a:gd name="connsiteY66" fmla="*/ 569238 h 1095756"/>
                  <a:gd name="connsiteX67" fmla="*/ 151629 w 1201674"/>
                  <a:gd name="connsiteY67" fmla="*/ 574954 h 1095756"/>
                  <a:gd name="connsiteX68" fmla="*/ 153772 w 1201674"/>
                  <a:gd name="connsiteY68" fmla="*/ 577097 h 1095756"/>
                  <a:gd name="connsiteX69" fmla="*/ 158771 w 1201674"/>
                  <a:gd name="connsiteY69" fmla="*/ 584956 h 1095756"/>
                  <a:gd name="connsiteX70" fmla="*/ 159485 w 1201674"/>
                  <a:gd name="connsiteY70" fmla="*/ 585671 h 1095756"/>
                  <a:gd name="connsiteX71" fmla="*/ 164484 w 1201674"/>
                  <a:gd name="connsiteY71" fmla="*/ 592101 h 1095756"/>
                  <a:gd name="connsiteX72" fmla="*/ 165913 w 1201674"/>
                  <a:gd name="connsiteY72" fmla="*/ 593530 h 1095756"/>
                  <a:gd name="connsiteX73" fmla="*/ 166627 w 1201674"/>
                  <a:gd name="connsiteY73" fmla="*/ 594244 h 1095756"/>
                  <a:gd name="connsiteX74" fmla="*/ 170912 w 1201674"/>
                  <a:gd name="connsiteY74" fmla="*/ 599246 h 1095756"/>
                  <a:gd name="connsiteX75" fmla="*/ 173055 w 1201674"/>
                  <a:gd name="connsiteY75" fmla="*/ 601389 h 1095756"/>
                  <a:gd name="connsiteX76" fmla="*/ 177340 w 1201674"/>
                  <a:gd name="connsiteY76" fmla="*/ 605676 h 1095756"/>
                  <a:gd name="connsiteX77" fmla="*/ 177340 w 1201674"/>
                  <a:gd name="connsiteY77" fmla="*/ 606390 h 1095756"/>
                  <a:gd name="connsiteX78" fmla="*/ 179482 w 1201674"/>
                  <a:gd name="connsiteY78" fmla="*/ 607819 h 1095756"/>
                  <a:gd name="connsiteX79" fmla="*/ 185196 w 1201674"/>
                  <a:gd name="connsiteY79" fmla="*/ 613535 h 1095756"/>
                  <a:gd name="connsiteX80" fmla="*/ 185910 w 1201674"/>
                  <a:gd name="connsiteY80" fmla="*/ 614250 h 1095756"/>
                  <a:gd name="connsiteX81" fmla="*/ 193052 w 1201674"/>
                  <a:gd name="connsiteY81" fmla="*/ 620680 h 1095756"/>
                  <a:gd name="connsiteX82" fmla="*/ 194480 w 1201674"/>
                  <a:gd name="connsiteY82" fmla="*/ 622109 h 1095756"/>
                  <a:gd name="connsiteX83" fmla="*/ 195194 w 1201674"/>
                  <a:gd name="connsiteY83" fmla="*/ 622109 h 1095756"/>
                  <a:gd name="connsiteX84" fmla="*/ 200193 w 1201674"/>
                  <a:gd name="connsiteY84" fmla="*/ 626396 h 1095756"/>
                  <a:gd name="connsiteX85" fmla="*/ 203050 w 1201674"/>
                  <a:gd name="connsiteY85" fmla="*/ 628539 h 1095756"/>
                  <a:gd name="connsiteX86" fmla="*/ 208049 w 1201674"/>
                  <a:gd name="connsiteY86" fmla="*/ 631397 h 1095756"/>
                  <a:gd name="connsiteX87" fmla="*/ 210906 w 1201674"/>
                  <a:gd name="connsiteY87" fmla="*/ 633540 h 1095756"/>
                  <a:gd name="connsiteX88" fmla="*/ 216620 w 1201674"/>
                  <a:gd name="connsiteY88" fmla="*/ 637112 h 1095756"/>
                  <a:gd name="connsiteX89" fmla="*/ 218762 w 1201674"/>
                  <a:gd name="connsiteY89" fmla="*/ 638541 h 1095756"/>
                  <a:gd name="connsiteX90" fmla="*/ 226618 w 1201674"/>
                  <a:gd name="connsiteY90" fmla="*/ 642828 h 1095756"/>
                  <a:gd name="connsiteX91" fmla="*/ 228046 w 1201674"/>
                  <a:gd name="connsiteY91" fmla="*/ 644257 h 1095756"/>
                  <a:gd name="connsiteX92" fmla="*/ 228761 w 1201674"/>
                  <a:gd name="connsiteY92" fmla="*/ 644257 h 1095756"/>
                  <a:gd name="connsiteX93" fmla="*/ 235188 w 1201674"/>
                  <a:gd name="connsiteY93" fmla="*/ 647115 h 1095756"/>
                  <a:gd name="connsiteX94" fmla="*/ 237331 w 1201674"/>
                  <a:gd name="connsiteY94" fmla="*/ 648544 h 1095756"/>
                  <a:gd name="connsiteX95" fmla="*/ 238045 w 1201674"/>
                  <a:gd name="connsiteY95" fmla="*/ 648544 h 1095756"/>
                  <a:gd name="connsiteX96" fmla="*/ 243759 w 1201674"/>
                  <a:gd name="connsiteY96" fmla="*/ 651402 h 1095756"/>
                  <a:gd name="connsiteX97" fmla="*/ 246615 w 1201674"/>
                  <a:gd name="connsiteY97" fmla="*/ 652831 h 1095756"/>
                  <a:gd name="connsiteX98" fmla="*/ 252329 w 1201674"/>
                  <a:gd name="connsiteY98" fmla="*/ 654974 h 1095756"/>
                  <a:gd name="connsiteX99" fmla="*/ 253757 w 1201674"/>
                  <a:gd name="connsiteY99" fmla="*/ 655689 h 1095756"/>
                  <a:gd name="connsiteX100" fmla="*/ 255185 w 1201674"/>
                  <a:gd name="connsiteY100" fmla="*/ 656403 h 1095756"/>
                  <a:gd name="connsiteX101" fmla="*/ 260185 w 1201674"/>
                  <a:gd name="connsiteY101" fmla="*/ 663548 h 1095756"/>
                  <a:gd name="connsiteX102" fmla="*/ 262327 w 1201674"/>
                  <a:gd name="connsiteY102" fmla="*/ 665691 h 1095756"/>
                  <a:gd name="connsiteX103" fmla="*/ 267327 w 1201674"/>
                  <a:gd name="connsiteY103" fmla="*/ 671407 h 1095756"/>
                  <a:gd name="connsiteX104" fmla="*/ 268755 w 1201674"/>
                  <a:gd name="connsiteY104" fmla="*/ 672836 h 1095756"/>
                  <a:gd name="connsiteX105" fmla="*/ 274468 w 1201674"/>
                  <a:gd name="connsiteY105" fmla="*/ 679266 h 1095756"/>
                  <a:gd name="connsiteX106" fmla="*/ 276611 w 1201674"/>
                  <a:gd name="connsiteY106" fmla="*/ 681410 h 1095756"/>
                  <a:gd name="connsiteX107" fmla="*/ 283038 w 1201674"/>
                  <a:gd name="connsiteY107" fmla="*/ 687840 h 1095756"/>
                  <a:gd name="connsiteX108" fmla="*/ 284467 w 1201674"/>
                  <a:gd name="connsiteY108" fmla="*/ 689269 h 1095756"/>
                  <a:gd name="connsiteX109" fmla="*/ 290180 w 1201674"/>
                  <a:gd name="connsiteY109" fmla="*/ 694270 h 1095756"/>
                  <a:gd name="connsiteX110" fmla="*/ 292323 w 1201674"/>
                  <a:gd name="connsiteY110" fmla="*/ 695699 h 1095756"/>
                  <a:gd name="connsiteX111" fmla="*/ 299465 w 1201674"/>
                  <a:gd name="connsiteY111" fmla="*/ 701415 h 1095756"/>
                  <a:gd name="connsiteX112" fmla="*/ 301607 w 1201674"/>
                  <a:gd name="connsiteY112" fmla="*/ 702844 h 1095756"/>
                  <a:gd name="connsiteX113" fmla="*/ 308035 w 1201674"/>
                  <a:gd name="connsiteY113" fmla="*/ 707131 h 1095756"/>
                  <a:gd name="connsiteX114" fmla="*/ 309463 w 1201674"/>
                  <a:gd name="connsiteY114" fmla="*/ 708560 h 1095756"/>
                  <a:gd name="connsiteX115" fmla="*/ 317319 w 1201674"/>
                  <a:gd name="connsiteY115" fmla="*/ 713561 h 1095756"/>
                  <a:gd name="connsiteX116" fmla="*/ 319462 w 1201674"/>
                  <a:gd name="connsiteY116" fmla="*/ 714990 h 1095756"/>
                  <a:gd name="connsiteX117" fmla="*/ 328032 w 1201674"/>
                  <a:gd name="connsiteY117" fmla="*/ 719277 h 1095756"/>
                  <a:gd name="connsiteX118" fmla="*/ 328746 w 1201674"/>
                  <a:gd name="connsiteY118" fmla="*/ 719991 h 1095756"/>
                  <a:gd name="connsiteX119" fmla="*/ 336602 w 1201674"/>
                  <a:gd name="connsiteY119" fmla="*/ 724278 h 1095756"/>
                  <a:gd name="connsiteX120" fmla="*/ 338744 w 1201674"/>
                  <a:gd name="connsiteY120" fmla="*/ 724992 h 1095756"/>
                  <a:gd name="connsiteX121" fmla="*/ 347315 w 1201674"/>
                  <a:gd name="connsiteY121" fmla="*/ 728565 h 1095756"/>
                  <a:gd name="connsiteX122" fmla="*/ 349457 w 1201674"/>
                  <a:gd name="connsiteY122" fmla="*/ 729994 h 1095756"/>
                  <a:gd name="connsiteX123" fmla="*/ 357313 w 1201674"/>
                  <a:gd name="connsiteY123" fmla="*/ 732852 h 1095756"/>
                  <a:gd name="connsiteX124" fmla="*/ 358742 w 1201674"/>
                  <a:gd name="connsiteY124" fmla="*/ 733566 h 1095756"/>
                  <a:gd name="connsiteX125" fmla="*/ 368026 w 1201674"/>
                  <a:gd name="connsiteY125" fmla="*/ 736424 h 1095756"/>
                  <a:gd name="connsiteX126" fmla="*/ 370168 w 1201674"/>
                  <a:gd name="connsiteY126" fmla="*/ 737138 h 1095756"/>
                  <a:gd name="connsiteX127" fmla="*/ 379453 w 1201674"/>
                  <a:gd name="connsiteY127" fmla="*/ 739996 h 1095756"/>
                  <a:gd name="connsiteX128" fmla="*/ 380167 w 1201674"/>
                  <a:gd name="connsiteY128" fmla="*/ 739996 h 1095756"/>
                  <a:gd name="connsiteX129" fmla="*/ 389451 w 1201674"/>
                  <a:gd name="connsiteY129" fmla="*/ 742140 h 1095756"/>
                  <a:gd name="connsiteX130" fmla="*/ 391594 w 1201674"/>
                  <a:gd name="connsiteY130" fmla="*/ 742854 h 1095756"/>
                  <a:gd name="connsiteX131" fmla="*/ 400878 w 1201674"/>
                  <a:gd name="connsiteY131" fmla="*/ 744283 h 1095756"/>
                  <a:gd name="connsiteX132" fmla="*/ 403021 w 1201674"/>
                  <a:gd name="connsiteY132" fmla="*/ 744283 h 1095756"/>
                  <a:gd name="connsiteX133" fmla="*/ 411591 w 1201674"/>
                  <a:gd name="connsiteY133" fmla="*/ 745712 h 1095756"/>
                  <a:gd name="connsiteX134" fmla="*/ 413734 w 1201674"/>
                  <a:gd name="connsiteY134" fmla="*/ 745712 h 1095756"/>
                  <a:gd name="connsiteX135" fmla="*/ 423732 w 1201674"/>
                  <a:gd name="connsiteY135" fmla="*/ 746426 h 1095756"/>
                  <a:gd name="connsiteX136" fmla="*/ 425875 w 1201674"/>
                  <a:gd name="connsiteY136" fmla="*/ 747141 h 1095756"/>
                  <a:gd name="connsiteX137" fmla="*/ 436587 w 1201674"/>
                  <a:gd name="connsiteY137" fmla="*/ 747141 h 1095756"/>
                  <a:gd name="connsiteX138" fmla="*/ 448729 w 1201674"/>
                  <a:gd name="connsiteY138" fmla="*/ 746426 h 1095756"/>
                  <a:gd name="connsiteX139" fmla="*/ 451585 w 1201674"/>
                  <a:gd name="connsiteY139" fmla="*/ 746426 h 1095756"/>
                  <a:gd name="connsiteX140" fmla="*/ 452299 w 1201674"/>
                  <a:gd name="connsiteY140" fmla="*/ 746426 h 1095756"/>
                  <a:gd name="connsiteX141" fmla="*/ 460869 w 1201674"/>
                  <a:gd name="connsiteY141" fmla="*/ 745712 h 1095756"/>
                  <a:gd name="connsiteX142" fmla="*/ 464440 w 1201674"/>
                  <a:gd name="connsiteY142" fmla="*/ 744998 h 1095756"/>
                  <a:gd name="connsiteX143" fmla="*/ 465155 w 1201674"/>
                  <a:gd name="connsiteY143" fmla="*/ 744998 h 1095756"/>
                  <a:gd name="connsiteX144" fmla="*/ 473011 w 1201674"/>
                  <a:gd name="connsiteY144" fmla="*/ 744283 h 1095756"/>
                  <a:gd name="connsiteX145" fmla="*/ 476582 w 1201674"/>
                  <a:gd name="connsiteY145" fmla="*/ 743569 h 1095756"/>
                  <a:gd name="connsiteX146" fmla="*/ 477296 w 1201674"/>
                  <a:gd name="connsiteY146" fmla="*/ 743569 h 1095756"/>
                  <a:gd name="connsiteX147" fmla="*/ 484437 w 1201674"/>
                  <a:gd name="connsiteY147" fmla="*/ 742140 h 1095756"/>
                  <a:gd name="connsiteX148" fmla="*/ 488723 w 1201674"/>
                  <a:gd name="connsiteY148" fmla="*/ 740711 h 1095756"/>
                  <a:gd name="connsiteX149" fmla="*/ 496579 w 1201674"/>
                  <a:gd name="connsiteY149" fmla="*/ 739282 h 1095756"/>
                  <a:gd name="connsiteX150" fmla="*/ 500150 w 1201674"/>
                  <a:gd name="connsiteY150" fmla="*/ 737853 h 1095756"/>
                  <a:gd name="connsiteX151" fmla="*/ 508005 w 1201674"/>
                  <a:gd name="connsiteY151" fmla="*/ 735710 h 1095756"/>
                  <a:gd name="connsiteX152" fmla="*/ 508005 w 1201674"/>
                  <a:gd name="connsiteY152" fmla="*/ 734995 h 1095756"/>
                  <a:gd name="connsiteX153" fmla="*/ 511576 w 1201674"/>
                  <a:gd name="connsiteY153" fmla="*/ 734281 h 1095756"/>
                  <a:gd name="connsiteX154" fmla="*/ 519432 w 1201674"/>
                  <a:gd name="connsiteY154" fmla="*/ 731423 h 1095756"/>
                  <a:gd name="connsiteX155" fmla="*/ 522289 w 1201674"/>
                  <a:gd name="connsiteY155" fmla="*/ 729994 h 1095756"/>
                  <a:gd name="connsiteX156" fmla="*/ 531573 w 1201674"/>
                  <a:gd name="connsiteY156" fmla="*/ 725707 h 1095756"/>
                  <a:gd name="connsiteX157" fmla="*/ 533002 w 1201674"/>
                  <a:gd name="connsiteY157" fmla="*/ 725707 h 1095756"/>
                  <a:gd name="connsiteX158" fmla="*/ 587280 w 1201674"/>
                  <a:gd name="connsiteY158" fmla="*/ 689983 h 1095756"/>
                  <a:gd name="connsiteX159" fmla="*/ 588708 w 1201674"/>
                  <a:gd name="connsiteY159" fmla="*/ 690698 h 1095756"/>
                  <a:gd name="connsiteX160" fmla="*/ 590136 w 1201674"/>
                  <a:gd name="connsiteY160" fmla="*/ 692127 h 1095756"/>
                  <a:gd name="connsiteX161" fmla="*/ 597278 w 1201674"/>
                  <a:gd name="connsiteY161" fmla="*/ 696414 h 1095756"/>
                  <a:gd name="connsiteX162" fmla="*/ 597992 w 1201674"/>
                  <a:gd name="connsiteY162" fmla="*/ 696414 h 1095756"/>
                  <a:gd name="connsiteX163" fmla="*/ 605134 w 1201674"/>
                  <a:gd name="connsiteY163" fmla="*/ 700700 h 1095756"/>
                  <a:gd name="connsiteX164" fmla="*/ 612276 w 1201674"/>
                  <a:gd name="connsiteY164" fmla="*/ 704273 h 1095756"/>
                  <a:gd name="connsiteX165" fmla="*/ 613704 w 1201674"/>
                  <a:gd name="connsiteY165" fmla="*/ 704987 h 1095756"/>
                  <a:gd name="connsiteX166" fmla="*/ 620846 w 1201674"/>
                  <a:gd name="connsiteY166" fmla="*/ 707845 h 1095756"/>
                  <a:gd name="connsiteX167" fmla="*/ 622274 w 1201674"/>
                  <a:gd name="connsiteY167" fmla="*/ 708560 h 1095756"/>
                  <a:gd name="connsiteX168" fmla="*/ 628702 w 1201674"/>
                  <a:gd name="connsiteY168" fmla="*/ 711417 h 1095756"/>
                  <a:gd name="connsiteX169" fmla="*/ 630845 w 1201674"/>
                  <a:gd name="connsiteY169" fmla="*/ 712132 h 1095756"/>
                  <a:gd name="connsiteX170" fmla="*/ 637272 w 1201674"/>
                  <a:gd name="connsiteY170" fmla="*/ 714275 h 1095756"/>
                  <a:gd name="connsiteX171" fmla="*/ 639415 w 1201674"/>
                  <a:gd name="connsiteY171" fmla="*/ 714990 h 1095756"/>
                  <a:gd name="connsiteX172" fmla="*/ 645842 w 1201674"/>
                  <a:gd name="connsiteY172" fmla="*/ 716419 h 1095756"/>
                  <a:gd name="connsiteX173" fmla="*/ 648699 w 1201674"/>
                  <a:gd name="connsiteY173" fmla="*/ 717133 h 1095756"/>
                  <a:gd name="connsiteX174" fmla="*/ 649413 w 1201674"/>
                  <a:gd name="connsiteY174" fmla="*/ 717133 h 1095756"/>
                  <a:gd name="connsiteX175" fmla="*/ 655127 w 1201674"/>
                  <a:gd name="connsiteY175" fmla="*/ 718562 h 1095756"/>
                  <a:gd name="connsiteX176" fmla="*/ 657269 w 1201674"/>
                  <a:gd name="connsiteY176" fmla="*/ 719277 h 1095756"/>
                  <a:gd name="connsiteX177" fmla="*/ 659412 w 1201674"/>
                  <a:gd name="connsiteY177" fmla="*/ 719277 h 1095756"/>
                  <a:gd name="connsiteX178" fmla="*/ 663697 w 1201674"/>
                  <a:gd name="connsiteY178" fmla="*/ 719991 h 1095756"/>
                  <a:gd name="connsiteX179" fmla="*/ 667268 w 1201674"/>
                  <a:gd name="connsiteY179" fmla="*/ 720706 h 1095756"/>
                  <a:gd name="connsiteX180" fmla="*/ 669410 w 1201674"/>
                  <a:gd name="connsiteY180" fmla="*/ 720706 h 1095756"/>
                  <a:gd name="connsiteX181" fmla="*/ 672981 w 1201674"/>
                  <a:gd name="connsiteY181" fmla="*/ 721420 h 1095756"/>
                  <a:gd name="connsiteX182" fmla="*/ 677266 w 1201674"/>
                  <a:gd name="connsiteY182" fmla="*/ 721420 h 1095756"/>
                  <a:gd name="connsiteX183" fmla="*/ 679409 w 1201674"/>
                  <a:gd name="connsiteY183" fmla="*/ 722135 h 1095756"/>
                  <a:gd name="connsiteX184" fmla="*/ 682266 w 1201674"/>
                  <a:gd name="connsiteY184" fmla="*/ 722135 h 1095756"/>
                  <a:gd name="connsiteX185" fmla="*/ 691550 w 1201674"/>
                  <a:gd name="connsiteY185" fmla="*/ 722135 h 1095756"/>
                  <a:gd name="connsiteX186" fmla="*/ 700834 w 1201674"/>
                  <a:gd name="connsiteY186" fmla="*/ 722135 h 1095756"/>
                  <a:gd name="connsiteX187" fmla="*/ 703691 w 1201674"/>
                  <a:gd name="connsiteY187" fmla="*/ 722135 h 1095756"/>
                  <a:gd name="connsiteX188" fmla="*/ 704405 w 1201674"/>
                  <a:gd name="connsiteY188" fmla="*/ 722135 h 1095756"/>
                  <a:gd name="connsiteX189" fmla="*/ 710119 w 1201674"/>
                  <a:gd name="connsiteY189" fmla="*/ 721420 h 1095756"/>
                  <a:gd name="connsiteX190" fmla="*/ 712975 w 1201674"/>
                  <a:gd name="connsiteY190" fmla="*/ 720706 h 1095756"/>
                  <a:gd name="connsiteX191" fmla="*/ 715118 w 1201674"/>
                  <a:gd name="connsiteY191" fmla="*/ 720706 h 1095756"/>
                  <a:gd name="connsiteX192" fmla="*/ 718689 w 1201674"/>
                  <a:gd name="connsiteY192" fmla="*/ 719991 h 1095756"/>
                  <a:gd name="connsiteX193" fmla="*/ 722260 w 1201674"/>
                  <a:gd name="connsiteY193" fmla="*/ 719991 h 1095756"/>
                  <a:gd name="connsiteX194" fmla="*/ 724402 w 1201674"/>
                  <a:gd name="connsiteY194" fmla="*/ 719277 h 1095756"/>
                  <a:gd name="connsiteX195" fmla="*/ 727973 w 1201674"/>
                  <a:gd name="connsiteY195" fmla="*/ 718562 h 1095756"/>
                  <a:gd name="connsiteX196" fmla="*/ 731544 w 1201674"/>
                  <a:gd name="connsiteY196" fmla="*/ 717848 h 1095756"/>
                  <a:gd name="connsiteX197" fmla="*/ 732973 w 1201674"/>
                  <a:gd name="connsiteY197" fmla="*/ 717848 h 1095756"/>
                  <a:gd name="connsiteX198" fmla="*/ 736543 w 1201674"/>
                  <a:gd name="connsiteY198" fmla="*/ 716419 h 1095756"/>
                  <a:gd name="connsiteX199" fmla="*/ 740828 w 1201674"/>
                  <a:gd name="connsiteY199" fmla="*/ 715704 h 1095756"/>
                  <a:gd name="connsiteX200" fmla="*/ 742257 w 1201674"/>
                  <a:gd name="connsiteY200" fmla="*/ 714990 h 1095756"/>
                  <a:gd name="connsiteX201" fmla="*/ 745114 w 1201674"/>
                  <a:gd name="connsiteY201" fmla="*/ 714275 h 1095756"/>
                  <a:gd name="connsiteX202" fmla="*/ 750113 w 1201674"/>
                  <a:gd name="connsiteY202" fmla="*/ 712846 h 1095756"/>
                  <a:gd name="connsiteX203" fmla="*/ 750827 w 1201674"/>
                  <a:gd name="connsiteY203" fmla="*/ 712846 h 1095756"/>
                  <a:gd name="connsiteX204" fmla="*/ 752970 w 1201674"/>
                  <a:gd name="connsiteY204" fmla="*/ 711417 h 1095756"/>
                  <a:gd name="connsiteX205" fmla="*/ 758683 w 1201674"/>
                  <a:gd name="connsiteY205" fmla="*/ 709988 h 1095756"/>
                  <a:gd name="connsiteX206" fmla="*/ 758683 w 1201674"/>
                  <a:gd name="connsiteY206" fmla="*/ 709274 h 1095756"/>
                  <a:gd name="connsiteX207" fmla="*/ 761540 w 1201674"/>
                  <a:gd name="connsiteY207" fmla="*/ 708560 h 1095756"/>
                  <a:gd name="connsiteX208" fmla="*/ 766539 w 1201674"/>
                  <a:gd name="connsiteY208" fmla="*/ 706416 h 1095756"/>
                  <a:gd name="connsiteX209" fmla="*/ 769396 w 1201674"/>
                  <a:gd name="connsiteY209" fmla="*/ 704987 h 1095756"/>
                  <a:gd name="connsiteX210" fmla="*/ 775109 w 1201674"/>
                  <a:gd name="connsiteY210" fmla="*/ 702129 h 1095756"/>
                  <a:gd name="connsiteX211" fmla="*/ 777252 w 1201674"/>
                  <a:gd name="connsiteY211" fmla="*/ 701415 h 1095756"/>
                  <a:gd name="connsiteX212" fmla="*/ 782251 w 1201674"/>
                  <a:gd name="connsiteY212" fmla="*/ 698557 h 1095756"/>
                  <a:gd name="connsiteX213" fmla="*/ 784393 w 1201674"/>
                  <a:gd name="connsiteY213" fmla="*/ 697128 h 1095756"/>
                  <a:gd name="connsiteX214" fmla="*/ 790107 w 1201674"/>
                  <a:gd name="connsiteY214" fmla="*/ 693556 h 1095756"/>
                  <a:gd name="connsiteX215" fmla="*/ 791535 w 1201674"/>
                  <a:gd name="connsiteY215" fmla="*/ 692841 h 1095756"/>
                  <a:gd name="connsiteX216" fmla="*/ 797249 w 1201674"/>
                  <a:gd name="connsiteY216" fmla="*/ 689269 h 1095756"/>
                  <a:gd name="connsiteX217" fmla="*/ 799391 w 1201674"/>
                  <a:gd name="connsiteY217" fmla="*/ 687840 h 1095756"/>
                  <a:gd name="connsiteX218" fmla="*/ 800106 w 1201674"/>
                  <a:gd name="connsiteY218" fmla="*/ 687840 h 1095756"/>
                  <a:gd name="connsiteX219" fmla="*/ 805105 w 1201674"/>
                  <a:gd name="connsiteY219" fmla="*/ 690698 h 1095756"/>
                  <a:gd name="connsiteX220" fmla="*/ 807961 w 1201674"/>
                  <a:gd name="connsiteY220" fmla="*/ 691412 h 1095756"/>
                  <a:gd name="connsiteX221" fmla="*/ 808676 w 1201674"/>
                  <a:gd name="connsiteY221" fmla="*/ 691412 h 1095756"/>
                  <a:gd name="connsiteX222" fmla="*/ 812247 w 1201674"/>
                  <a:gd name="connsiteY222" fmla="*/ 692841 h 1095756"/>
                  <a:gd name="connsiteX223" fmla="*/ 815818 w 1201674"/>
                  <a:gd name="connsiteY223" fmla="*/ 694270 h 1095756"/>
                  <a:gd name="connsiteX224" fmla="*/ 819388 w 1201674"/>
                  <a:gd name="connsiteY224" fmla="*/ 695699 h 1095756"/>
                  <a:gd name="connsiteX225" fmla="*/ 820103 w 1201674"/>
                  <a:gd name="connsiteY225" fmla="*/ 695699 h 1095756"/>
                  <a:gd name="connsiteX226" fmla="*/ 822245 w 1201674"/>
                  <a:gd name="connsiteY226" fmla="*/ 696414 h 1095756"/>
                  <a:gd name="connsiteX227" fmla="*/ 829387 w 1201674"/>
                  <a:gd name="connsiteY227" fmla="*/ 698557 h 1095756"/>
                  <a:gd name="connsiteX228" fmla="*/ 831529 w 1201674"/>
                  <a:gd name="connsiteY228" fmla="*/ 699272 h 1095756"/>
                  <a:gd name="connsiteX229" fmla="*/ 836529 w 1201674"/>
                  <a:gd name="connsiteY229" fmla="*/ 699986 h 1095756"/>
                  <a:gd name="connsiteX230" fmla="*/ 839386 w 1201674"/>
                  <a:gd name="connsiteY230" fmla="*/ 700700 h 1095756"/>
                  <a:gd name="connsiteX231" fmla="*/ 845099 w 1201674"/>
                  <a:gd name="connsiteY231" fmla="*/ 702129 h 1095756"/>
                  <a:gd name="connsiteX232" fmla="*/ 846527 w 1201674"/>
                  <a:gd name="connsiteY232" fmla="*/ 702129 h 1095756"/>
                  <a:gd name="connsiteX233" fmla="*/ 854383 w 1201674"/>
                  <a:gd name="connsiteY233" fmla="*/ 702844 h 1095756"/>
                  <a:gd name="connsiteX234" fmla="*/ 856526 w 1201674"/>
                  <a:gd name="connsiteY234" fmla="*/ 703558 h 1095756"/>
                  <a:gd name="connsiteX235" fmla="*/ 862239 w 1201674"/>
                  <a:gd name="connsiteY235" fmla="*/ 703558 h 1095756"/>
                  <a:gd name="connsiteX236" fmla="*/ 864382 w 1201674"/>
                  <a:gd name="connsiteY236" fmla="*/ 703558 h 1095756"/>
                  <a:gd name="connsiteX237" fmla="*/ 872238 w 1201674"/>
                  <a:gd name="connsiteY237" fmla="*/ 704273 h 1095756"/>
                  <a:gd name="connsiteX238" fmla="*/ 880808 w 1201674"/>
                  <a:gd name="connsiteY238" fmla="*/ 703558 h 1095756"/>
                  <a:gd name="connsiteX239" fmla="*/ 882951 w 1201674"/>
                  <a:gd name="connsiteY239" fmla="*/ 703558 h 1095756"/>
                  <a:gd name="connsiteX240" fmla="*/ 883665 w 1201674"/>
                  <a:gd name="connsiteY240" fmla="*/ 703558 h 1095756"/>
                  <a:gd name="connsiteX241" fmla="*/ 888664 w 1201674"/>
                  <a:gd name="connsiteY241" fmla="*/ 703558 h 1095756"/>
                  <a:gd name="connsiteX242" fmla="*/ 891521 w 1201674"/>
                  <a:gd name="connsiteY242" fmla="*/ 702844 h 1095756"/>
                  <a:gd name="connsiteX243" fmla="*/ 892235 w 1201674"/>
                  <a:gd name="connsiteY243" fmla="*/ 702844 h 1095756"/>
                  <a:gd name="connsiteX244" fmla="*/ 897234 w 1201674"/>
                  <a:gd name="connsiteY244" fmla="*/ 702129 h 1095756"/>
                  <a:gd name="connsiteX245" fmla="*/ 900091 w 1201674"/>
                  <a:gd name="connsiteY245" fmla="*/ 702129 h 1095756"/>
                  <a:gd name="connsiteX246" fmla="*/ 900805 w 1201674"/>
                  <a:gd name="connsiteY246" fmla="*/ 701415 h 1095756"/>
                  <a:gd name="connsiteX247" fmla="*/ 905090 w 1201674"/>
                  <a:gd name="connsiteY247" fmla="*/ 700700 h 1095756"/>
                  <a:gd name="connsiteX248" fmla="*/ 907947 w 1201674"/>
                  <a:gd name="connsiteY248" fmla="*/ 699986 h 1095756"/>
                  <a:gd name="connsiteX249" fmla="*/ 908661 w 1201674"/>
                  <a:gd name="connsiteY249" fmla="*/ 699986 h 1095756"/>
                  <a:gd name="connsiteX250" fmla="*/ 912946 w 1201674"/>
                  <a:gd name="connsiteY250" fmla="*/ 699272 h 1095756"/>
                  <a:gd name="connsiteX251" fmla="*/ 916517 w 1201674"/>
                  <a:gd name="connsiteY251" fmla="*/ 697843 h 1095756"/>
                  <a:gd name="connsiteX252" fmla="*/ 920802 w 1201674"/>
                  <a:gd name="connsiteY252" fmla="*/ 697128 h 1095756"/>
                  <a:gd name="connsiteX253" fmla="*/ 924373 w 1201674"/>
                  <a:gd name="connsiteY253" fmla="*/ 695699 h 1095756"/>
                  <a:gd name="connsiteX254" fmla="*/ 928658 w 1201674"/>
                  <a:gd name="connsiteY254" fmla="*/ 694270 h 1095756"/>
                  <a:gd name="connsiteX255" fmla="*/ 932229 w 1201674"/>
                  <a:gd name="connsiteY255" fmla="*/ 692841 h 1095756"/>
                  <a:gd name="connsiteX256" fmla="*/ 935800 w 1201674"/>
                  <a:gd name="connsiteY256" fmla="*/ 691412 h 1095756"/>
                  <a:gd name="connsiteX257" fmla="*/ 939371 w 1201674"/>
                  <a:gd name="connsiteY257" fmla="*/ 689983 h 1095756"/>
                  <a:gd name="connsiteX258" fmla="*/ 943656 w 1201674"/>
                  <a:gd name="connsiteY258" fmla="*/ 688554 h 1095756"/>
                  <a:gd name="connsiteX259" fmla="*/ 946513 w 1201674"/>
                  <a:gd name="connsiteY259" fmla="*/ 686411 h 1095756"/>
                  <a:gd name="connsiteX260" fmla="*/ 950798 w 1201674"/>
                  <a:gd name="connsiteY260" fmla="*/ 684982 h 1095756"/>
                  <a:gd name="connsiteX261" fmla="*/ 953654 w 1201674"/>
                  <a:gd name="connsiteY261" fmla="*/ 682839 h 1095756"/>
                  <a:gd name="connsiteX262" fmla="*/ 957225 w 1201674"/>
                  <a:gd name="connsiteY262" fmla="*/ 680695 h 1095756"/>
                  <a:gd name="connsiteX263" fmla="*/ 957940 w 1201674"/>
                  <a:gd name="connsiteY263" fmla="*/ 680695 h 1095756"/>
                  <a:gd name="connsiteX264" fmla="*/ 960796 w 1201674"/>
                  <a:gd name="connsiteY264" fmla="*/ 679266 h 1095756"/>
                  <a:gd name="connsiteX265" fmla="*/ 964367 w 1201674"/>
                  <a:gd name="connsiteY265" fmla="*/ 676408 h 1095756"/>
                  <a:gd name="connsiteX266" fmla="*/ 965081 w 1201674"/>
                  <a:gd name="connsiteY266" fmla="*/ 676408 h 1095756"/>
                  <a:gd name="connsiteX267" fmla="*/ 967224 w 1201674"/>
                  <a:gd name="connsiteY267" fmla="*/ 674979 h 1095756"/>
                  <a:gd name="connsiteX268" fmla="*/ 970795 w 1201674"/>
                  <a:gd name="connsiteY268" fmla="*/ 672122 h 1095756"/>
                  <a:gd name="connsiteX269" fmla="*/ 971509 w 1201674"/>
                  <a:gd name="connsiteY269" fmla="*/ 671407 h 1095756"/>
                  <a:gd name="connsiteX270" fmla="*/ 973651 w 1201674"/>
                  <a:gd name="connsiteY270" fmla="*/ 669978 h 1095756"/>
                  <a:gd name="connsiteX271" fmla="*/ 975794 w 1201674"/>
                  <a:gd name="connsiteY271" fmla="*/ 668549 h 1095756"/>
                  <a:gd name="connsiteX272" fmla="*/ 991506 w 1201674"/>
                  <a:gd name="connsiteY272" fmla="*/ 668549 h 1095756"/>
                  <a:gd name="connsiteX273" fmla="*/ 1055782 w 1201674"/>
                  <a:gd name="connsiteY273" fmla="*/ 656403 h 1095756"/>
                  <a:gd name="connsiteX274" fmla="*/ 1065067 w 1201674"/>
                  <a:gd name="connsiteY274" fmla="*/ 652831 h 1095756"/>
                  <a:gd name="connsiteX275" fmla="*/ 1105061 w 1201674"/>
                  <a:gd name="connsiteY275" fmla="*/ 627824 h 1095756"/>
                  <a:gd name="connsiteX276" fmla="*/ 1111488 w 1201674"/>
                  <a:gd name="connsiteY276" fmla="*/ 622823 h 1095756"/>
                  <a:gd name="connsiteX277" fmla="*/ 1126486 w 1201674"/>
                  <a:gd name="connsiteY277" fmla="*/ 607105 h 1095756"/>
                  <a:gd name="connsiteX278" fmla="*/ 1134342 w 1201674"/>
                  <a:gd name="connsiteY278" fmla="*/ 597817 h 1095756"/>
                  <a:gd name="connsiteX279" fmla="*/ 1140056 w 1201674"/>
                  <a:gd name="connsiteY279" fmla="*/ 590672 h 1095756"/>
                  <a:gd name="connsiteX280" fmla="*/ 1148626 w 1201674"/>
                  <a:gd name="connsiteY280" fmla="*/ 576383 h 1095756"/>
                  <a:gd name="connsiteX281" fmla="*/ 1152911 w 1201674"/>
                  <a:gd name="connsiteY281" fmla="*/ 568523 h 1095756"/>
                  <a:gd name="connsiteX282" fmla="*/ 1159339 w 1201674"/>
                  <a:gd name="connsiteY282" fmla="*/ 552805 h 1095756"/>
                  <a:gd name="connsiteX283" fmla="*/ 1162195 w 1201674"/>
                  <a:gd name="connsiteY283" fmla="*/ 544232 h 1095756"/>
                  <a:gd name="connsiteX284" fmla="*/ 1168623 w 1201674"/>
                  <a:gd name="connsiteY284" fmla="*/ 518510 h 1095756"/>
                  <a:gd name="connsiteX285" fmla="*/ 1170051 w 1201674"/>
                  <a:gd name="connsiteY285" fmla="*/ 491361 h 1095756"/>
                  <a:gd name="connsiteX286" fmla="*/ 1162195 w 1201674"/>
                  <a:gd name="connsiteY286" fmla="*/ 437061 h 1095756"/>
                  <a:gd name="connsiteX287" fmla="*/ 1153625 w 1201674"/>
                  <a:gd name="connsiteY287" fmla="*/ 415627 h 1095756"/>
                  <a:gd name="connsiteX288" fmla="*/ 1146483 w 1201674"/>
                  <a:gd name="connsiteY288" fmla="*/ 402766 h 1095756"/>
                  <a:gd name="connsiteX289" fmla="*/ 1111488 w 1201674"/>
                  <a:gd name="connsiteY289" fmla="*/ 360613 h 1095756"/>
                  <a:gd name="connsiteX290" fmla="*/ 1112203 w 1201674"/>
                  <a:gd name="connsiteY290" fmla="*/ 345609 h 1095756"/>
                  <a:gd name="connsiteX291" fmla="*/ 914375 w 1201674"/>
                  <a:gd name="connsiteY291" fmla="*/ 147700 h 1095756"/>
                  <a:gd name="connsiteX292" fmla="*/ 900805 w 1201674"/>
                  <a:gd name="connsiteY292" fmla="*/ 147700 h 1095756"/>
                  <a:gd name="connsiteX293" fmla="*/ 747970 w 1201674"/>
                  <a:gd name="connsiteY293" fmla="*/ 50533 h 1095756"/>
                  <a:gd name="connsiteX294" fmla="*/ 649413 w 1201674"/>
                  <a:gd name="connsiteY294" fmla="*/ 81969 h 1095756"/>
                  <a:gd name="connsiteX295" fmla="*/ 643700 w 1201674"/>
                  <a:gd name="connsiteY295" fmla="*/ 77682 h 1095756"/>
                  <a:gd name="connsiteX296" fmla="*/ 612990 w 1201674"/>
                  <a:gd name="connsiteY296" fmla="*/ 58392 h 1095756"/>
                  <a:gd name="connsiteX297" fmla="*/ 503006 w 1201674"/>
                  <a:gd name="connsiteY297" fmla="*/ 31242 h 1095756"/>
                  <a:gd name="connsiteX298" fmla="*/ 502956 w 1201674"/>
                  <a:gd name="connsiteY298" fmla="*/ 0 h 1095756"/>
                  <a:gd name="connsiteX299" fmla="*/ 627268 w 1201674"/>
                  <a:gd name="connsiteY299" fmla="*/ 30722 h 1095756"/>
                  <a:gd name="connsiteX300" fmla="*/ 650844 w 1201674"/>
                  <a:gd name="connsiteY300" fmla="*/ 44297 h 1095756"/>
                  <a:gd name="connsiteX301" fmla="*/ 748007 w 1201674"/>
                  <a:gd name="connsiteY301" fmla="*/ 19290 h 1095756"/>
                  <a:gd name="connsiteX302" fmla="*/ 919472 w 1201674"/>
                  <a:gd name="connsiteY302" fmla="*/ 115743 h 1095756"/>
                  <a:gd name="connsiteX303" fmla="*/ 1144519 w 1201674"/>
                  <a:gd name="connsiteY303" fmla="*/ 345800 h 1095756"/>
                  <a:gd name="connsiteX304" fmla="*/ 1144519 w 1201674"/>
                  <a:gd name="connsiteY304" fmla="*/ 348657 h 1095756"/>
                  <a:gd name="connsiteX305" fmla="*/ 1173811 w 1201674"/>
                  <a:gd name="connsiteY305" fmla="*/ 387238 h 1095756"/>
                  <a:gd name="connsiteX306" fmla="*/ 1182384 w 1201674"/>
                  <a:gd name="connsiteY306" fmla="*/ 402957 h 1095756"/>
                  <a:gd name="connsiteX307" fmla="*/ 1192387 w 1201674"/>
                  <a:gd name="connsiteY307" fmla="*/ 427963 h 1095756"/>
                  <a:gd name="connsiteX308" fmla="*/ 1201674 w 1201674"/>
                  <a:gd name="connsiteY308" fmla="*/ 491550 h 1095756"/>
                  <a:gd name="connsiteX309" fmla="*/ 1199531 w 1201674"/>
                  <a:gd name="connsiteY309" fmla="*/ 523701 h 1095756"/>
                  <a:gd name="connsiteX310" fmla="*/ 1192387 w 1201674"/>
                  <a:gd name="connsiteY310" fmla="*/ 553708 h 1095756"/>
                  <a:gd name="connsiteX311" fmla="*/ 1189529 w 1201674"/>
                  <a:gd name="connsiteY311" fmla="*/ 563711 h 1095756"/>
                  <a:gd name="connsiteX312" fmla="*/ 1180955 w 1201674"/>
                  <a:gd name="connsiteY312" fmla="*/ 582287 h 1095756"/>
                  <a:gd name="connsiteX313" fmla="*/ 1176669 w 1201674"/>
                  <a:gd name="connsiteY313" fmla="*/ 591575 h 1095756"/>
                  <a:gd name="connsiteX314" fmla="*/ 1165952 w 1201674"/>
                  <a:gd name="connsiteY314" fmla="*/ 608722 h 1095756"/>
                  <a:gd name="connsiteX315" fmla="*/ 1160237 w 1201674"/>
                  <a:gd name="connsiteY315" fmla="*/ 616581 h 1095756"/>
                  <a:gd name="connsiteX316" fmla="*/ 1150949 w 1201674"/>
                  <a:gd name="connsiteY316" fmla="*/ 628012 h 1095756"/>
                  <a:gd name="connsiteX317" fmla="*/ 1132374 w 1201674"/>
                  <a:gd name="connsiteY317" fmla="*/ 645874 h 1095756"/>
                  <a:gd name="connsiteX318" fmla="*/ 1124515 w 1201674"/>
                  <a:gd name="connsiteY318" fmla="*/ 652304 h 1095756"/>
                  <a:gd name="connsiteX319" fmla="*/ 1078077 w 1201674"/>
                  <a:gd name="connsiteY319" fmla="*/ 681597 h 1095756"/>
                  <a:gd name="connsiteX320" fmla="*/ 1067360 w 1201674"/>
                  <a:gd name="connsiteY320" fmla="*/ 685884 h 1095756"/>
                  <a:gd name="connsiteX321" fmla="*/ 991630 w 1201674"/>
                  <a:gd name="connsiteY321" fmla="*/ 700173 h 1095756"/>
                  <a:gd name="connsiteX322" fmla="*/ 986629 w 1201674"/>
                  <a:gd name="connsiteY322" fmla="*/ 700173 h 1095756"/>
                  <a:gd name="connsiteX323" fmla="*/ 985200 w 1201674"/>
                  <a:gd name="connsiteY323" fmla="*/ 700887 h 1095756"/>
                  <a:gd name="connsiteX324" fmla="*/ 982342 w 1201674"/>
                  <a:gd name="connsiteY324" fmla="*/ 703031 h 1095756"/>
                  <a:gd name="connsiteX325" fmla="*/ 981628 w 1201674"/>
                  <a:gd name="connsiteY325" fmla="*/ 703031 h 1095756"/>
                  <a:gd name="connsiteX326" fmla="*/ 977341 w 1201674"/>
                  <a:gd name="connsiteY326" fmla="*/ 705889 h 1095756"/>
                  <a:gd name="connsiteX327" fmla="*/ 973769 w 1201674"/>
                  <a:gd name="connsiteY327" fmla="*/ 708032 h 1095756"/>
                  <a:gd name="connsiteX328" fmla="*/ 968768 w 1201674"/>
                  <a:gd name="connsiteY328" fmla="*/ 710890 h 1095756"/>
                  <a:gd name="connsiteX329" fmla="*/ 965196 w 1201674"/>
                  <a:gd name="connsiteY329" fmla="*/ 713033 h 1095756"/>
                  <a:gd name="connsiteX330" fmla="*/ 960909 w 1201674"/>
                  <a:gd name="connsiteY330" fmla="*/ 715177 h 1095756"/>
                  <a:gd name="connsiteX331" fmla="*/ 956623 w 1201674"/>
                  <a:gd name="connsiteY331" fmla="*/ 716606 h 1095756"/>
                  <a:gd name="connsiteX332" fmla="*/ 952336 w 1201674"/>
                  <a:gd name="connsiteY332" fmla="*/ 718749 h 1095756"/>
                  <a:gd name="connsiteX333" fmla="*/ 948049 w 1201674"/>
                  <a:gd name="connsiteY333" fmla="*/ 720892 h 1095756"/>
                  <a:gd name="connsiteX334" fmla="*/ 943048 w 1201674"/>
                  <a:gd name="connsiteY334" fmla="*/ 723036 h 1095756"/>
                  <a:gd name="connsiteX335" fmla="*/ 939476 w 1201674"/>
                  <a:gd name="connsiteY335" fmla="*/ 724465 h 1095756"/>
                  <a:gd name="connsiteX336" fmla="*/ 934475 w 1201674"/>
                  <a:gd name="connsiteY336" fmla="*/ 725894 h 1095756"/>
                  <a:gd name="connsiteX337" fmla="*/ 930189 w 1201674"/>
                  <a:gd name="connsiteY337" fmla="*/ 727322 h 1095756"/>
                  <a:gd name="connsiteX338" fmla="*/ 925188 w 1201674"/>
                  <a:gd name="connsiteY338" fmla="*/ 728751 h 1095756"/>
                  <a:gd name="connsiteX339" fmla="*/ 924473 w 1201674"/>
                  <a:gd name="connsiteY339" fmla="*/ 728751 h 1095756"/>
                  <a:gd name="connsiteX340" fmla="*/ 920901 w 1201674"/>
                  <a:gd name="connsiteY340" fmla="*/ 729466 h 1095756"/>
                  <a:gd name="connsiteX341" fmla="*/ 915900 w 1201674"/>
                  <a:gd name="connsiteY341" fmla="*/ 730895 h 1095756"/>
                  <a:gd name="connsiteX342" fmla="*/ 915186 w 1201674"/>
                  <a:gd name="connsiteY342" fmla="*/ 730895 h 1095756"/>
                  <a:gd name="connsiteX343" fmla="*/ 911613 w 1201674"/>
                  <a:gd name="connsiteY343" fmla="*/ 731609 h 1095756"/>
                  <a:gd name="connsiteX344" fmla="*/ 905898 w 1201674"/>
                  <a:gd name="connsiteY344" fmla="*/ 733038 h 1095756"/>
                  <a:gd name="connsiteX345" fmla="*/ 905183 w 1201674"/>
                  <a:gd name="connsiteY345" fmla="*/ 733038 h 1095756"/>
                  <a:gd name="connsiteX346" fmla="*/ 901611 w 1201674"/>
                  <a:gd name="connsiteY346" fmla="*/ 733753 h 1095756"/>
                  <a:gd name="connsiteX347" fmla="*/ 896610 w 1201674"/>
                  <a:gd name="connsiteY347" fmla="*/ 734467 h 1095756"/>
                  <a:gd name="connsiteX348" fmla="*/ 895181 w 1201674"/>
                  <a:gd name="connsiteY348" fmla="*/ 734467 h 1095756"/>
                  <a:gd name="connsiteX349" fmla="*/ 892323 w 1201674"/>
                  <a:gd name="connsiteY349" fmla="*/ 734467 h 1095756"/>
                  <a:gd name="connsiteX350" fmla="*/ 885894 w 1201674"/>
                  <a:gd name="connsiteY350" fmla="*/ 735182 h 1095756"/>
                  <a:gd name="connsiteX351" fmla="*/ 885179 w 1201674"/>
                  <a:gd name="connsiteY351" fmla="*/ 735182 h 1095756"/>
                  <a:gd name="connsiteX352" fmla="*/ 882321 w 1201674"/>
                  <a:gd name="connsiteY352" fmla="*/ 735182 h 1095756"/>
                  <a:gd name="connsiteX353" fmla="*/ 872319 w 1201674"/>
                  <a:gd name="connsiteY353" fmla="*/ 735896 h 1095756"/>
                  <a:gd name="connsiteX354" fmla="*/ 863032 w 1201674"/>
                  <a:gd name="connsiteY354" fmla="*/ 735182 h 1095756"/>
                  <a:gd name="connsiteX355" fmla="*/ 862317 w 1201674"/>
                  <a:gd name="connsiteY355" fmla="*/ 735182 h 1095756"/>
                  <a:gd name="connsiteX356" fmla="*/ 860174 w 1201674"/>
                  <a:gd name="connsiteY356" fmla="*/ 735182 h 1095756"/>
                  <a:gd name="connsiteX357" fmla="*/ 853744 w 1201674"/>
                  <a:gd name="connsiteY357" fmla="*/ 734467 h 1095756"/>
                  <a:gd name="connsiteX358" fmla="*/ 850886 w 1201674"/>
                  <a:gd name="connsiteY358" fmla="*/ 734467 h 1095756"/>
                  <a:gd name="connsiteX359" fmla="*/ 841598 w 1201674"/>
                  <a:gd name="connsiteY359" fmla="*/ 733753 h 1095756"/>
                  <a:gd name="connsiteX360" fmla="*/ 840170 w 1201674"/>
                  <a:gd name="connsiteY360" fmla="*/ 733038 h 1095756"/>
                  <a:gd name="connsiteX361" fmla="*/ 833025 w 1201674"/>
                  <a:gd name="connsiteY361" fmla="*/ 731609 h 1095756"/>
                  <a:gd name="connsiteX362" fmla="*/ 830167 w 1201674"/>
                  <a:gd name="connsiteY362" fmla="*/ 730895 h 1095756"/>
                  <a:gd name="connsiteX363" fmla="*/ 824452 w 1201674"/>
                  <a:gd name="connsiteY363" fmla="*/ 730180 h 1095756"/>
                  <a:gd name="connsiteX364" fmla="*/ 820880 w 1201674"/>
                  <a:gd name="connsiteY364" fmla="*/ 728751 h 1095756"/>
                  <a:gd name="connsiteX365" fmla="*/ 813021 w 1201674"/>
                  <a:gd name="connsiteY365" fmla="*/ 726608 h 1095756"/>
                  <a:gd name="connsiteX366" fmla="*/ 810163 w 1201674"/>
                  <a:gd name="connsiteY366" fmla="*/ 725894 h 1095756"/>
                  <a:gd name="connsiteX367" fmla="*/ 805162 w 1201674"/>
                  <a:gd name="connsiteY367" fmla="*/ 724465 h 1095756"/>
                  <a:gd name="connsiteX368" fmla="*/ 802304 w 1201674"/>
                  <a:gd name="connsiteY368" fmla="*/ 723036 h 1095756"/>
                  <a:gd name="connsiteX369" fmla="*/ 800161 w 1201674"/>
                  <a:gd name="connsiteY369" fmla="*/ 724465 h 1095756"/>
                  <a:gd name="connsiteX370" fmla="*/ 798018 w 1201674"/>
                  <a:gd name="connsiteY370" fmla="*/ 725894 h 1095756"/>
                  <a:gd name="connsiteX371" fmla="*/ 791588 w 1201674"/>
                  <a:gd name="connsiteY371" fmla="*/ 729466 h 1095756"/>
                  <a:gd name="connsiteX372" fmla="*/ 788730 w 1201674"/>
                  <a:gd name="connsiteY372" fmla="*/ 730895 h 1095756"/>
                  <a:gd name="connsiteX373" fmla="*/ 782300 w 1201674"/>
                  <a:gd name="connsiteY373" fmla="*/ 733753 h 1095756"/>
                  <a:gd name="connsiteX374" fmla="*/ 779443 w 1201674"/>
                  <a:gd name="connsiteY374" fmla="*/ 735182 h 1095756"/>
                  <a:gd name="connsiteX375" fmla="*/ 773727 w 1201674"/>
                  <a:gd name="connsiteY375" fmla="*/ 738039 h 1095756"/>
                  <a:gd name="connsiteX376" fmla="*/ 770155 w 1201674"/>
                  <a:gd name="connsiteY376" fmla="*/ 738754 h 1095756"/>
                  <a:gd name="connsiteX377" fmla="*/ 770155 w 1201674"/>
                  <a:gd name="connsiteY377" fmla="*/ 739468 h 1095756"/>
                  <a:gd name="connsiteX378" fmla="*/ 763725 w 1201674"/>
                  <a:gd name="connsiteY378" fmla="*/ 741612 h 1095756"/>
                  <a:gd name="connsiteX379" fmla="*/ 760867 w 1201674"/>
                  <a:gd name="connsiteY379" fmla="*/ 742326 h 1095756"/>
                  <a:gd name="connsiteX380" fmla="*/ 760153 w 1201674"/>
                  <a:gd name="connsiteY380" fmla="*/ 743041 h 1095756"/>
                  <a:gd name="connsiteX381" fmla="*/ 754437 w 1201674"/>
                  <a:gd name="connsiteY381" fmla="*/ 744470 h 1095756"/>
                  <a:gd name="connsiteX382" fmla="*/ 750151 w 1201674"/>
                  <a:gd name="connsiteY382" fmla="*/ 745899 h 1095756"/>
                  <a:gd name="connsiteX383" fmla="*/ 749436 w 1201674"/>
                  <a:gd name="connsiteY383" fmla="*/ 745899 h 1095756"/>
                  <a:gd name="connsiteX384" fmla="*/ 744435 w 1201674"/>
                  <a:gd name="connsiteY384" fmla="*/ 747327 h 1095756"/>
                  <a:gd name="connsiteX385" fmla="*/ 740149 w 1201674"/>
                  <a:gd name="connsiteY385" fmla="*/ 748042 h 1095756"/>
                  <a:gd name="connsiteX386" fmla="*/ 738720 w 1201674"/>
                  <a:gd name="connsiteY386" fmla="*/ 748756 h 1095756"/>
                  <a:gd name="connsiteX387" fmla="*/ 733719 w 1201674"/>
                  <a:gd name="connsiteY387" fmla="*/ 749471 h 1095756"/>
                  <a:gd name="connsiteX388" fmla="*/ 729432 w 1201674"/>
                  <a:gd name="connsiteY388" fmla="*/ 750185 h 1095756"/>
                  <a:gd name="connsiteX389" fmla="*/ 728003 w 1201674"/>
                  <a:gd name="connsiteY389" fmla="*/ 750900 h 1095756"/>
                  <a:gd name="connsiteX390" fmla="*/ 723717 w 1201674"/>
                  <a:gd name="connsiteY390" fmla="*/ 751614 h 1095756"/>
                  <a:gd name="connsiteX391" fmla="*/ 718716 w 1201674"/>
                  <a:gd name="connsiteY391" fmla="*/ 752329 h 1095756"/>
                  <a:gd name="connsiteX392" fmla="*/ 717287 w 1201674"/>
                  <a:gd name="connsiteY392" fmla="*/ 752329 h 1095756"/>
                  <a:gd name="connsiteX393" fmla="*/ 713000 w 1201674"/>
                  <a:gd name="connsiteY393" fmla="*/ 753043 h 1095756"/>
                  <a:gd name="connsiteX394" fmla="*/ 707285 w 1201674"/>
                  <a:gd name="connsiteY394" fmla="*/ 753043 h 1095756"/>
                  <a:gd name="connsiteX395" fmla="*/ 705856 w 1201674"/>
                  <a:gd name="connsiteY395" fmla="*/ 753758 h 1095756"/>
                  <a:gd name="connsiteX396" fmla="*/ 702283 w 1201674"/>
                  <a:gd name="connsiteY396" fmla="*/ 753758 h 1095756"/>
                  <a:gd name="connsiteX397" fmla="*/ 691567 w 1201674"/>
                  <a:gd name="connsiteY397" fmla="*/ 753758 h 1095756"/>
                  <a:gd name="connsiteX398" fmla="*/ 680851 w 1201674"/>
                  <a:gd name="connsiteY398" fmla="*/ 753758 h 1095756"/>
                  <a:gd name="connsiteX399" fmla="*/ 676564 w 1201674"/>
                  <a:gd name="connsiteY399" fmla="*/ 753043 h 1095756"/>
                  <a:gd name="connsiteX400" fmla="*/ 675135 w 1201674"/>
                  <a:gd name="connsiteY400" fmla="*/ 753043 h 1095756"/>
                  <a:gd name="connsiteX401" fmla="*/ 669420 w 1201674"/>
                  <a:gd name="connsiteY401" fmla="*/ 753043 h 1095756"/>
                  <a:gd name="connsiteX402" fmla="*/ 665133 w 1201674"/>
                  <a:gd name="connsiteY402" fmla="*/ 752329 h 1095756"/>
                  <a:gd name="connsiteX403" fmla="*/ 662989 w 1201674"/>
                  <a:gd name="connsiteY403" fmla="*/ 752329 h 1095756"/>
                  <a:gd name="connsiteX404" fmla="*/ 659417 w 1201674"/>
                  <a:gd name="connsiteY404" fmla="*/ 751614 h 1095756"/>
                  <a:gd name="connsiteX405" fmla="*/ 653702 w 1201674"/>
                  <a:gd name="connsiteY405" fmla="*/ 750185 h 1095756"/>
                  <a:gd name="connsiteX406" fmla="*/ 652273 w 1201674"/>
                  <a:gd name="connsiteY406" fmla="*/ 750185 h 1095756"/>
                  <a:gd name="connsiteX407" fmla="*/ 648701 w 1201674"/>
                  <a:gd name="connsiteY407" fmla="*/ 749471 h 1095756"/>
                  <a:gd name="connsiteX408" fmla="*/ 642271 w 1201674"/>
                  <a:gd name="connsiteY408" fmla="*/ 748042 h 1095756"/>
                  <a:gd name="connsiteX409" fmla="*/ 641557 w 1201674"/>
                  <a:gd name="connsiteY409" fmla="*/ 748042 h 1095756"/>
                  <a:gd name="connsiteX410" fmla="*/ 637984 w 1201674"/>
                  <a:gd name="connsiteY410" fmla="*/ 747327 h 1095756"/>
                  <a:gd name="connsiteX411" fmla="*/ 630840 w 1201674"/>
                  <a:gd name="connsiteY411" fmla="*/ 745184 h 1095756"/>
                  <a:gd name="connsiteX412" fmla="*/ 627982 w 1201674"/>
                  <a:gd name="connsiteY412" fmla="*/ 744470 h 1095756"/>
                  <a:gd name="connsiteX413" fmla="*/ 620838 w 1201674"/>
                  <a:gd name="connsiteY413" fmla="*/ 741612 h 1095756"/>
                  <a:gd name="connsiteX414" fmla="*/ 617980 w 1201674"/>
                  <a:gd name="connsiteY414" fmla="*/ 740897 h 1095756"/>
                  <a:gd name="connsiteX415" fmla="*/ 610121 w 1201674"/>
                  <a:gd name="connsiteY415" fmla="*/ 738039 h 1095756"/>
                  <a:gd name="connsiteX416" fmla="*/ 608692 w 1201674"/>
                  <a:gd name="connsiteY416" fmla="*/ 737325 h 1095756"/>
                  <a:gd name="connsiteX417" fmla="*/ 600834 w 1201674"/>
                  <a:gd name="connsiteY417" fmla="*/ 733753 h 1095756"/>
                  <a:gd name="connsiteX418" fmla="*/ 599405 w 1201674"/>
                  <a:gd name="connsiteY418" fmla="*/ 733038 h 1095756"/>
                  <a:gd name="connsiteX419" fmla="*/ 590832 w 1201674"/>
                  <a:gd name="connsiteY419" fmla="*/ 728751 h 1095756"/>
                  <a:gd name="connsiteX420" fmla="*/ 590117 w 1201674"/>
                  <a:gd name="connsiteY420" fmla="*/ 728751 h 1095756"/>
                  <a:gd name="connsiteX421" fmla="*/ 589403 w 1201674"/>
                  <a:gd name="connsiteY421" fmla="*/ 728037 h 1095756"/>
                  <a:gd name="connsiteX422" fmla="*/ 546536 w 1201674"/>
                  <a:gd name="connsiteY422" fmla="*/ 753758 h 1095756"/>
                  <a:gd name="connsiteX423" fmla="*/ 544393 w 1201674"/>
                  <a:gd name="connsiteY423" fmla="*/ 755187 h 1095756"/>
                  <a:gd name="connsiteX424" fmla="*/ 534391 w 1201674"/>
                  <a:gd name="connsiteY424" fmla="*/ 759473 h 1095756"/>
                  <a:gd name="connsiteX425" fmla="*/ 530819 w 1201674"/>
                  <a:gd name="connsiteY425" fmla="*/ 760902 h 1095756"/>
                  <a:gd name="connsiteX426" fmla="*/ 522246 w 1201674"/>
                  <a:gd name="connsiteY426" fmla="*/ 763760 h 1095756"/>
                  <a:gd name="connsiteX427" fmla="*/ 517959 w 1201674"/>
                  <a:gd name="connsiteY427" fmla="*/ 765189 h 1095756"/>
                  <a:gd name="connsiteX428" fmla="*/ 509386 w 1201674"/>
                  <a:gd name="connsiteY428" fmla="*/ 768047 h 1095756"/>
                  <a:gd name="connsiteX429" fmla="*/ 504385 w 1201674"/>
                  <a:gd name="connsiteY429" fmla="*/ 769476 h 1095756"/>
                  <a:gd name="connsiteX430" fmla="*/ 495812 w 1201674"/>
                  <a:gd name="connsiteY430" fmla="*/ 771619 h 1095756"/>
                  <a:gd name="connsiteX431" fmla="*/ 491525 w 1201674"/>
                  <a:gd name="connsiteY431" fmla="*/ 773048 h 1095756"/>
                  <a:gd name="connsiteX432" fmla="*/ 482952 w 1201674"/>
                  <a:gd name="connsiteY432" fmla="*/ 774477 h 1095756"/>
                  <a:gd name="connsiteX433" fmla="*/ 482237 w 1201674"/>
                  <a:gd name="connsiteY433" fmla="*/ 774477 h 1095756"/>
                  <a:gd name="connsiteX434" fmla="*/ 477951 w 1201674"/>
                  <a:gd name="connsiteY434" fmla="*/ 775191 h 1095756"/>
                  <a:gd name="connsiteX435" fmla="*/ 469377 w 1201674"/>
                  <a:gd name="connsiteY435" fmla="*/ 776620 h 1095756"/>
                  <a:gd name="connsiteX436" fmla="*/ 467948 w 1201674"/>
                  <a:gd name="connsiteY436" fmla="*/ 776620 h 1095756"/>
                  <a:gd name="connsiteX437" fmla="*/ 463662 w 1201674"/>
                  <a:gd name="connsiteY437" fmla="*/ 777335 h 1095756"/>
                  <a:gd name="connsiteX438" fmla="*/ 454374 w 1201674"/>
                  <a:gd name="connsiteY438" fmla="*/ 778049 h 1095756"/>
                  <a:gd name="connsiteX439" fmla="*/ 453660 w 1201674"/>
                  <a:gd name="connsiteY439" fmla="*/ 778049 h 1095756"/>
                  <a:gd name="connsiteX440" fmla="*/ 450088 w 1201674"/>
                  <a:gd name="connsiteY440" fmla="*/ 778049 h 1095756"/>
                  <a:gd name="connsiteX441" fmla="*/ 436513 w 1201674"/>
                  <a:gd name="connsiteY441" fmla="*/ 778764 h 1095756"/>
                  <a:gd name="connsiteX442" fmla="*/ 424368 w 1201674"/>
                  <a:gd name="connsiteY442" fmla="*/ 778049 h 1095756"/>
                  <a:gd name="connsiteX443" fmla="*/ 422225 w 1201674"/>
                  <a:gd name="connsiteY443" fmla="*/ 778049 h 1095756"/>
                  <a:gd name="connsiteX444" fmla="*/ 421510 w 1201674"/>
                  <a:gd name="connsiteY444" fmla="*/ 778049 h 1095756"/>
                  <a:gd name="connsiteX445" fmla="*/ 410079 w 1201674"/>
                  <a:gd name="connsiteY445" fmla="*/ 777335 h 1095756"/>
                  <a:gd name="connsiteX446" fmla="*/ 408650 w 1201674"/>
                  <a:gd name="connsiteY446" fmla="*/ 777335 h 1095756"/>
                  <a:gd name="connsiteX447" fmla="*/ 398648 w 1201674"/>
                  <a:gd name="connsiteY447" fmla="*/ 775906 h 1095756"/>
                  <a:gd name="connsiteX448" fmla="*/ 396505 w 1201674"/>
                  <a:gd name="connsiteY448" fmla="*/ 775906 h 1095756"/>
                  <a:gd name="connsiteX449" fmla="*/ 385074 w 1201674"/>
                  <a:gd name="connsiteY449" fmla="*/ 773763 h 1095756"/>
                  <a:gd name="connsiteX450" fmla="*/ 382931 w 1201674"/>
                  <a:gd name="connsiteY450" fmla="*/ 773048 h 1095756"/>
                  <a:gd name="connsiteX451" fmla="*/ 372214 w 1201674"/>
                  <a:gd name="connsiteY451" fmla="*/ 770905 h 1095756"/>
                  <a:gd name="connsiteX452" fmla="*/ 371500 w 1201674"/>
                  <a:gd name="connsiteY452" fmla="*/ 770905 h 1095756"/>
                  <a:gd name="connsiteX453" fmla="*/ 371500 w 1201674"/>
                  <a:gd name="connsiteY453" fmla="*/ 770190 h 1095756"/>
                  <a:gd name="connsiteX454" fmla="*/ 360783 w 1201674"/>
                  <a:gd name="connsiteY454" fmla="*/ 767332 h 1095756"/>
                  <a:gd name="connsiteX455" fmla="*/ 358640 w 1201674"/>
                  <a:gd name="connsiteY455" fmla="*/ 766618 h 1095756"/>
                  <a:gd name="connsiteX456" fmla="*/ 357925 w 1201674"/>
                  <a:gd name="connsiteY456" fmla="*/ 766618 h 1095756"/>
                  <a:gd name="connsiteX457" fmla="*/ 347923 w 1201674"/>
                  <a:gd name="connsiteY457" fmla="*/ 763046 h 1095756"/>
                  <a:gd name="connsiteX458" fmla="*/ 345780 w 1201674"/>
                  <a:gd name="connsiteY458" fmla="*/ 762331 h 1095756"/>
                  <a:gd name="connsiteX459" fmla="*/ 337207 w 1201674"/>
                  <a:gd name="connsiteY459" fmla="*/ 758759 h 1095756"/>
                  <a:gd name="connsiteX460" fmla="*/ 335063 w 1201674"/>
                  <a:gd name="connsiteY460" fmla="*/ 758044 h 1095756"/>
                  <a:gd name="connsiteX461" fmla="*/ 325061 w 1201674"/>
                  <a:gd name="connsiteY461" fmla="*/ 753758 h 1095756"/>
                  <a:gd name="connsiteX462" fmla="*/ 322918 w 1201674"/>
                  <a:gd name="connsiteY462" fmla="*/ 752329 h 1095756"/>
                  <a:gd name="connsiteX463" fmla="*/ 314345 w 1201674"/>
                  <a:gd name="connsiteY463" fmla="*/ 748042 h 1095756"/>
                  <a:gd name="connsiteX464" fmla="*/ 312201 w 1201674"/>
                  <a:gd name="connsiteY464" fmla="*/ 747327 h 1095756"/>
                  <a:gd name="connsiteX465" fmla="*/ 303628 w 1201674"/>
                  <a:gd name="connsiteY465" fmla="*/ 742326 h 1095756"/>
                  <a:gd name="connsiteX466" fmla="*/ 300770 w 1201674"/>
                  <a:gd name="connsiteY466" fmla="*/ 740183 h 1095756"/>
                  <a:gd name="connsiteX467" fmla="*/ 292197 w 1201674"/>
                  <a:gd name="connsiteY467" fmla="*/ 735182 h 1095756"/>
                  <a:gd name="connsiteX468" fmla="*/ 290054 w 1201674"/>
                  <a:gd name="connsiteY468" fmla="*/ 733038 h 1095756"/>
                  <a:gd name="connsiteX469" fmla="*/ 282910 w 1201674"/>
                  <a:gd name="connsiteY469" fmla="*/ 728751 h 1095756"/>
                  <a:gd name="connsiteX470" fmla="*/ 280766 w 1201674"/>
                  <a:gd name="connsiteY470" fmla="*/ 726608 h 1095756"/>
                  <a:gd name="connsiteX471" fmla="*/ 272907 w 1201674"/>
                  <a:gd name="connsiteY471" fmla="*/ 720178 h 1095756"/>
                  <a:gd name="connsiteX472" fmla="*/ 270050 w 1201674"/>
                  <a:gd name="connsiteY472" fmla="*/ 718034 h 1095756"/>
                  <a:gd name="connsiteX473" fmla="*/ 263620 w 1201674"/>
                  <a:gd name="connsiteY473" fmla="*/ 713033 h 1095756"/>
                  <a:gd name="connsiteX474" fmla="*/ 262191 w 1201674"/>
                  <a:gd name="connsiteY474" fmla="*/ 710890 h 1095756"/>
                  <a:gd name="connsiteX475" fmla="*/ 254332 w 1201674"/>
                  <a:gd name="connsiteY475" fmla="*/ 704460 h 1095756"/>
                  <a:gd name="connsiteX476" fmla="*/ 252189 w 1201674"/>
                  <a:gd name="connsiteY476" fmla="*/ 701602 h 1095756"/>
                  <a:gd name="connsiteX477" fmla="*/ 245044 w 1201674"/>
                  <a:gd name="connsiteY477" fmla="*/ 694457 h 1095756"/>
                  <a:gd name="connsiteX478" fmla="*/ 243616 w 1201674"/>
                  <a:gd name="connsiteY478" fmla="*/ 692314 h 1095756"/>
                  <a:gd name="connsiteX479" fmla="*/ 237900 w 1201674"/>
                  <a:gd name="connsiteY479" fmla="*/ 686598 h 1095756"/>
                  <a:gd name="connsiteX480" fmla="*/ 235757 w 1201674"/>
                  <a:gd name="connsiteY480" fmla="*/ 683740 h 1095756"/>
                  <a:gd name="connsiteX481" fmla="*/ 234328 w 1201674"/>
                  <a:gd name="connsiteY481" fmla="*/ 681597 h 1095756"/>
                  <a:gd name="connsiteX482" fmla="*/ 230756 w 1201674"/>
                  <a:gd name="connsiteY482" fmla="*/ 680168 h 1095756"/>
                  <a:gd name="connsiteX483" fmla="*/ 225040 w 1201674"/>
                  <a:gd name="connsiteY483" fmla="*/ 677310 h 1095756"/>
                  <a:gd name="connsiteX484" fmla="*/ 224326 w 1201674"/>
                  <a:gd name="connsiteY484" fmla="*/ 677310 h 1095756"/>
                  <a:gd name="connsiteX485" fmla="*/ 220754 w 1201674"/>
                  <a:gd name="connsiteY485" fmla="*/ 675881 h 1095756"/>
                  <a:gd name="connsiteX486" fmla="*/ 214324 w 1201674"/>
                  <a:gd name="connsiteY486" fmla="*/ 672309 h 1095756"/>
                  <a:gd name="connsiteX487" fmla="*/ 213609 w 1201674"/>
                  <a:gd name="connsiteY487" fmla="*/ 672309 h 1095756"/>
                  <a:gd name="connsiteX488" fmla="*/ 211466 w 1201674"/>
                  <a:gd name="connsiteY488" fmla="*/ 670880 h 1095756"/>
                  <a:gd name="connsiteX489" fmla="*/ 202178 w 1201674"/>
                  <a:gd name="connsiteY489" fmla="*/ 665879 h 1095756"/>
                  <a:gd name="connsiteX490" fmla="*/ 200035 w 1201674"/>
                  <a:gd name="connsiteY490" fmla="*/ 664450 h 1095756"/>
                  <a:gd name="connsiteX491" fmla="*/ 199321 w 1201674"/>
                  <a:gd name="connsiteY491" fmla="*/ 663735 h 1095756"/>
                  <a:gd name="connsiteX492" fmla="*/ 193605 w 1201674"/>
                  <a:gd name="connsiteY492" fmla="*/ 660163 h 1095756"/>
                  <a:gd name="connsiteX493" fmla="*/ 190033 w 1201674"/>
                  <a:gd name="connsiteY493" fmla="*/ 658020 h 1095756"/>
                  <a:gd name="connsiteX494" fmla="*/ 184317 w 1201674"/>
                  <a:gd name="connsiteY494" fmla="*/ 653733 h 1095756"/>
                  <a:gd name="connsiteX495" fmla="*/ 181460 w 1201674"/>
                  <a:gd name="connsiteY495" fmla="*/ 651590 h 1095756"/>
                  <a:gd name="connsiteX496" fmla="*/ 175744 w 1201674"/>
                  <a:gd name="connsiteY496" fmla="*/ 647303 h 1095756"/>
                  <a:gd name="connsiteX497" fmla="*/ 175030 w 1201674"/>
                  <a:gd name="connsiteY497" fmla="*/ 646588 h 1095756"/>
                  <a:gd name="connsiteX498" fmla="*/ 172887 w 1201674"/>
                  <a:gd name="connsiteY498" fmla="*/ 645159 h 1095756"/>
                  <a:gd name="connsiteX499" fmla="*/ 165028 w 1201674"/>
                  <a:gd name="connsiteY499" fmla="*/ 638015 h 1095756"/>
                  <a:gd name="connsiteX500" fmla="*/ 163599 w 1201674"/>
                  <a:gd name="connsiteY500" fmla="*/ 636586 h 1095756"/>
                  <a:gd name="connsiteX501" fmla="*/ 157169 w 1201674"/>
                  <a:gd name="connsiteY501" fmla="*/ 630870 h 1095756"/>
                  <a:gd name="connsiteX502" fmla="*/ 155025 w 1201674"/>
                  <a:gd name="connsiteY502" fmla="*/ 628727 h 1095756"/>
                  <a:gd name="connsiteX503" fmla="*/ 154311 w 1201674"/>
                  <a:gd name="connsiteY503" fmla="*/ 628012 h 1095756"/>
                  <a:gd name="connsiteX504" fmla="*/ 150025 w 1201674"/>
                  <a:gd name="connsiteY504" fmla="*/ 623011 h 1095756"/>
                  <a:gd name="connsiteX505" fmla="*/ 147167 w 1201674"/>
                  <a:gd name="connsiteY505" fmla="*/ 620153 h 1095756"/>
                  <a:gd name="connsiteX506" fmla="*/ 142166 w 1201674"/>
                  <a:gd name="connsiteY506" fmla="*/ 615152 h 1095756"/>
                  <a:gd name="connsiteX507" fmla="*/ 142166 w 1201674"/>
                  <a:gd name="connsiteY507" fmla="*/ 614438 h 1095756"/>
                  <a:gd name="connsiteX508" fmla="*/ 140022 w 1201674"/>
                  <a:gd name="connsiteY508" fmla="*/ 612294 h 1095756"/>
                  <a:gd name="connsiteX509" fmla="*/ 134307 w 1201674"/>
                  <a:gd name="connsiteY509" fmla="*/ 605150 h 1095756"/>
                  <a:gd name="connsiteX510" fmla="*/ 133593 w 1201674"/>
                  <a:gd name="connsiteY510" fmla="*/ 603721 h 1095756"/>
                  <a:gd name="connsiteX511" fmla="*/ 127163 w 1201674"/>
                  <a:gd name="connsiteY511" fmla="*/ 595147 h 1095756"/>
                  <a:gd name="connsiteX512" fmla="*/ 125734 w 1201674"/>
                  <a:gd name="connsiteY512" fmla="*/ 592289 h 1095756"/>
                  <a:gd name="connsiteX513" fmla="*/ 121447 w 1201674"/>
                  <a:gd name="connsiteY513" fmla="*/ 586574 h 1095756"/>
                  <a:gd name="connsiteX514" fmla="*/ 119304 w 1201674"/>
                  <a:gd name="connsiteY514" fmla="*/ 583001 h 1095756"/>
                  <a:gd name="connsiteX515" fmla="*/ 115731 w 1201674"/>
                  <a:gd name="connsiteY515" fmla="*/ 576571 h 1095756"/>
                  <a:gd name="connsiteX516" fmla="*/ 114303 w 1201674"/>
                  <a:gd name="connsiteY516" fmla="*/ 573713 h 1095756"/>
                  <a:gd name="connsiteX517" fmla="*/ 110016 w 1201674"/>
                  <a:gd name="connsiteY517" fmla="*/ 565854 h 1095756"/>
                  <a:gd name="connsiteX518" fmla="*/ 109302 w 1201674"/>
                  <a:gd name="connsiteY518" fmla="*/ 563711 h 1095756"/>
                  <a:gd name="connsiteX519" fmla="*/ 105015 w 1201674"/>
                  <a:gd name="connsiteY519" fmla="*/ 554423 h 1095756"/>
                  <a:gd name="connsiteX520" fmla="*/ 103586 w 1201674"/>
                  <a:gd name="connsiteY520" fmla="*/ 551565 h 1095756"/>
                  <a:gd name="connsiteX521" fmla="*/ 100728 w 1201674"/>
                  <a:gd name="connsiteY521" fmla="*/ 544420 h 1095756"/>
                  <a:gd name="connsiteX522" fmla="*/ 99300 w 1201674"/>
                  <a:gd name="connsiteY522" fmla="*/ 540848 h 1095756"/>
                  <a:gd name="connsiteX523" fmla="*/ 97156 w 1201674"/>
                  <a:gd name="connsiteY523" fmla="*/ 533703 h 1095756"/>
                  <a:gd name="connsiteX524" fmla="*/ 95727 w 1201674"/>
                  <a:gd name="connsiteY524" fmla="*/ 530131 h 1095756"/>
                  <a:gd name="connsiteX525" fmla="*/ 93584 w 1201674"/>
                  <a:gd name="connsiteY525" fmla="*/ 522272 h 1095756"/>
                  <a:gd name="connsiteX526" fmla="*/ 92870 w 1201674"/>
                  <a:gd name="connsiteY526" fmla="*/ 519414 h 1095756"/>
                  <a:gd name="connsiteX527" fmla="*/ 90726 w 1201674"/>
                  <a:gd name="connsiteY527" fmla="*/ 508697 h 1095756"/>
                  <a:gd name="connsiteX528" fmla="*/ 90012 w 1201674"/>
                  <a:gd name="connsiteY528" fmla="*/ 506554 h 1095756"/>
                  <a:gd name="connsiteX529" fmla="*/ 88583 w 1201674"/>
                  <a:gd name="connsiteY529" fmla="*/ 497266 h 1095756"/>
                  <a:gd name="connsiteX530" fmla="*/ 87869 w 1201674"/>
                  <a:gd name="connsiteY530" fmla="*/ 493693 h 1095756"/>
                  <a:gd name="connsiteX531" fmla="*/ 87154 w 1201674"/>
                  <a:gd name="connsiteY531" fmla="*/ 485834 h 1095756"/>
                  <a:gd name="connsiteX532" fmla="*/ 86440 w 1201674"/>
                  <a:gd name="connsiteY532" fmla="*/ 482262 h 1095756"/>
                  <a:gd name="connsiteX533" fmla="*/ 85725 w 1201674"/>
                  <a:gd name="connsiteY533" fmla="*/ 474403 h 1095756"/>
                  <a:gd name="connsiteX534" fmla="*/ 85725 w 1201674"/>
                  <a:gd name="connsiteY534" fmla="*/ 473689 h 1095756"/>
                  <a:gd name="connsiteX535" fmla="*/ 85725 w 1201674"/>
                  <a:gd name="connsiteY535" fmla="*/ 470831 h 1095756"/>
                  <a:gd name="connsiteX536" fmla="*/ 85725 w 1201674"/>
                  <a:gd name="connsiteY536" fmla="*/ 459399 h 1095756"/>
                  <a:gd name="connsiteX537" fmla="*/ 97871 w 1201674"/>
                  <a:gd name="connsiteY537" fmla="*/ 383666 h 1095756"/>
                  <a:gd name="connsiteX538" fmla="*/ 112874 w 1201674"/>
                  <a:gd name="connsiteY538" fmla="*/ 347943 h 1095756"/>
                  <a:gd name="connsiteX539" fmla="*/ 120018 w 1201674"/>
                  <a:gd name="connsiteY539" fmla="*/ 335797 h 1095756"/>
                  <a:gd name="connsiteX540" fmla="*/ 132164 w 1201674"/>
                  <a:gd name="connsiteY540" fmla="*/ 317936 h 1095756"/>
                  <a:gd name="connsiteX541" fmla="*/ 142166 w 1201674"/>
                  <a:gd name="connsiteY541" fmla="*/ 305075 h 1095756"/>
                  <a:gd name="connsiteX542" fmla="*/ 148596 w 1201674"/>
                  <a:gd name="connsiteY542" fmla="*/ 297931 h 1095756"/>
                  <a:gd name="connsiteX543" fmla="*/ 159312 w 1201674"/>
                  <a:gd name="connsiteY543" fmla="*/ 286499 h 1095756"/>
                  <a:gd name="connsiteX544" fmla="*/ 160027 w 1201674"/>
                  <a:gd name="connsiteY544" fmla="*/ 286499 h 1095756"/>
                  <a:gd name="connsiteX545" fmla="*/ 160741 w 1201674"/>
                  <a:gd name="connsiteY545" fmla="*/ 285785 h 1095756"/>
                  <a:gd name="connsiteX546" fmla="*/ 182174 w 1201674"/>
                  <a:gd name="connsiteY546" fmla="*/ 267923 h 1095756"/>
                  <a:gd name="connsiteX547" fmla="*/ 186461 w 1201674"/>
                  <a:gd name="connsiteY547" fmla="*/ 264351 h 1095756"/>
                  <a:gd name="connsiteX548" fmla="*/ 206465 w 1201674"/>
                  <a:gd name="connsiteY548" fmla="*/ 251491 h 1095756"/>
                  <a:gd name="connsiteX549" fmla="*/ 225040 w 1201674"/>
                  <a:gd name="connsiteY549" fmla="*/ 242203 h 1095756"/>
                  <a:gd name="connsiteX550" fmla="*/ 238615 w 1201674"/>
                  <a:gd name="connsiteY550" fmla="*/ 236487 h 1095756"/>
                  <a:gd name="connsiteX551" fmla="*/ 282910 w 1201674"/>
                  <a:gd name="connsiteY551" fmla="*/ 115743 h 1095756"/>
                  <a:gd name="connsiteX552" fmla="*/ 297913 w 1201674"/>
                  <a:gd name="connsiteY552" fmla="*/ 95738 h 1095756"/>
                  <a:gd name="connsiteX553" fmla="*/ 306486 w 1201674"/>
                  <a:gd name="connsiteY553" fmla="*/ 85735 h 1095756"/>
                  <a:gd name="connsiteX554" fmla="*/ 502956 w 1201674"/>
                  <a:gd name="connsiteY554" fmla="*/ 0 h 109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Lst>
                <a:rect l="l" t="t" r="r" b="b"/>
                <a:pathLst>
                  <a:path w="1201674" h="1095756">
                    <a:moveTo>
                      <a:pt x="75248" y="995934"/>
                    </a:moveTo>
                    <a:cubicBezTo>
                      <a:pt x="51575" y="995934"/>
                      <a:pt x="32385" y="1011286"/>
                      <a:pt x="32385" y="1030224"/>
                    </a:cubicBezTo>
                    <a:cubicBezTo>
                      <a:pt x="32385" y="1049162"/>
                      <a:pt x="51575" y="1064514"/>
                      <a:pt x="75248" y="1064514"/>
                    </a:cubicBezTo>
                    <a:cubicBezTo>
                      <a:pt x="98920" y="1064514"/>
                      <a:pt x="118110" y="1049162"/>
                      <a:pt x="118110" y="1030224"/>
                    </a:cubicBezTo>
                    <a:cubicBezTo>
                      <a:pt x="118110" y="1011286"/>
                      <a:pt x="98920" y="995934"/>
                      <a:pt x="75248" y="995934"/>
                    </a:cubicBezTo>
                    <a:close/>
                    <a:moveTo>
                      <a:pt x="75057" y="965073"/>
                    </a:moveTo>
                    <a:cubicBezTo>
                      <a:pt x="116510" y="965073"/>
                      <a:pt x="150114" y="994328"/>
                      <a:pt x="150114" y="1030415"/>
                    </a:cubicBezTo>
                    <a:cubicBezTo>
                      <a:pt x="150114" y="1066502"/>
                      <a:pt x="116510" y="1095756"/>
                      <a:pt x="75057" y="1095756"/>
                    </a:cubicBezTo>
                    <a:cubicBezTo>
                      <a:pt x="33605" y="1095756"/>
                      <a:pt x="0" y="1066502"/>
                      <a:pt x="0" y="1030415"/>
                    </a:cubicBezTo>
                    <a:cubicBezTo>
                      <a:pt x="0" y="994328"/>
                      <a:pt x="33605" y="965073"/>
                      <a:pt x="75057" y="965073"/>
                    </a:cubicBezTo>
                    <a:close/>
                    <a:moveTo>
                      <a:pt x="219432" y="805815"/>
                    </a:moveTo>
                    <a:cubicBezTo>
                      <a:pt x="172323" y="805815"/>
                      <a:pt x="134493" y="835808"/>
                      <a:pt x="134493" y="870800"/>
                    </a:cubicBezTo>
                    <a:cubicBezTo>
                      <a:pt x="134493" y="907220"/>
                      <a:pt x="172323" y="936498"/>
                      <a:pt x="219432" y="936498"/>
                    </a:cubicBezTo>
                    <a:cubicBezTo>
                      <a:pt x="265827" y="936498"/>
                      <a:pt x="303657" y="907220"/>
                      <a:pt x="303657" y="870800"/>
                    </a:cubicBezTo>
                    <a:cubicBezTo>
                      <a:pt x="303657" y="835808"/>
                      <a:pt x="265827" y="805815"/>
                      <a:pt x="219432" y="805815"/>
                    </a:cubicBezTo>
                    <a:close/>
                    <a:moveTo>
                      <a:pt x="219242" y="774192"/>
                    </a:moveTo>
                    <a:cubicBezTo>
                      <a:pt x="249239" y="774192"/>
                      <a:pt x="277095" y="783477"/>
                      <a:pt x="298521" y="800617"/>
                    </a:cubicBezTo>
                    <a:cubicBezTo>
                      <a:pt x="322091" y="818472"/>
                      <a:pt x="335661" y="844184"/>
                      <a:pt x="335661" y="870609"/>
                    </a:cubicBezTo>
                    <a:cubicBezTo>
                      <a:pt x="335661" y="897748"/>
                      <a:pt x="322091" y="923460"/>
                      <a:pt x="298521" y="942029"/>
                    </a:cubicBezTo>
                    <a:cubicBezTo>
                      <a:pt x="277095" y="958455"/>
                      <a:pt x="249239" y="967740"/>
                      <a:pt x="219242" y="967740"/>
                    </a:cubicBezTo>
                    <a:cubicBezTo>
                      <a:pt x="189959" y="967740"/>
                      <a:pt x="160675" y="958455"/>
                      <a:pt x="139962" y="942029"/>
                    </a:cubicBezTo>
                    <a:cubicBezTo>
                      <a:pt x="116393" y="923460"/>
                      <a:pt x="102108" y="897748"/>
                      <a:pt x="102108" y="870609"/>
                    </a:cubicBezTo>
                    <a:cubicBezTo>
                      <a:pt x="102108" y="844184"/>
                      <a:pt x="116393" y="818472"/>
                      <a:pt x="139962" y="800617"/>
                    </a:cubicBezTo>
                    <a:cubicBezTo>
                      <a:pt x="160675" y="783477"/>
                      <a:pt x="189959" y="774192"/>
                      <a:pt x="219242" y="774192"/>
                    </a:cubicBezTo>
                    <a:close/>
                    <a:moveTo>
                      <a:pt x="503006" y="31242"/>
                    </a:moveTo>
                    <a:cubicBezTo>
                      <a:pt x="437301" y="31242"/>
                      <a:pt x="373739" y="58392"/>
                      <a:pt x="329460" y="106976"/>
                    </a:cubicBezTo>
                    <a:cubicBezTo>
                      <a:pt x="327318" y="109834"/>
                      <a:pt x="324461" y="112691"/>
                      <a:pt x="322318" y="115549"/>
                    </a:cubicBezTo>
                    <a:cubicBezTo>
                      <a:pt x="317319" y="121265"/>
                      <a:pt x="313034" y="126981"/>
                      <a:pt x="308749" y="134126"/>
                    </a:cubicBezTo>
                    <a:cubicBezTo>
                      <a:pt x="283753" y="171278"/>
                      <a:pt x="269469" y="214146"/>
                      <a:pt x="268755" y="259158"/>
                    </a:cubicBezTo>
                    <a:cubicBezTo>
                      <a:pt x="266612" y="259872"/>
                      <a:pt x="264470" y="260587"/>
                      <a:pt x="262327" y="261301"/>
                    </a:cubicBezTo>
                    <a:cubicBezTo>
                      <a:pt x="254471" y="263445"/>
                      <a:pt x="246615" y="267017"/>
                      <a:pt x="238759" y="270589"/>
                    </a:cubicBezTo>
                    <a:cubicBezTo>
                      <a:pt x="233046" y="272733"/>
                      <a:pt x="227332" y="275591"/>
                      <a:pt x="222333" y="278449"/>
                    </a:cubicBezTo>
                    <a:cubicBezTo>
                      <a:pt x="216620" y="282021"/>
                      <a:pt x="210192" y="285593"/>
                      <a:pt x="204478" y="289880"/>
                    </a:cubicBezTo>
                    <a:cubicBezTo>
                      <a:pt x="203764" y="290594"/>
                      <a:pt x="202336" y="292023"/>
                      <a:pt x="200908" y="292738"/>
                    </a:cubicBezTo>
                    <a:cubicBezTo>
                      <a:pt x="194480" y="297739"/>
                      <a:pt x="188052" y="302741"/>
                      <a:pt x="182339" y="308456"/>
                    </a:cubicBezTo>
                    <a:cubicBezTo>
                      <a:pt x="182339" y="308456"/>
                      <a:pt x="182339" y="308456"/>
                      <a:pt x="181625" y="309171"/>
                    </a:cubicBezTo>
                    <a:cubicBezTo>
                      <a:pt x="178054" y="312029"/>
                      <a:pt x="175197" y="315601"/>
                      <a:pt x="171626" y="319173"/>
                    </a:cubicBezTo>
                    <a:cubicBezTo>
                      <a:pt x="170198" y="321317"/>
                      <a:pt x="168055" y="323460"/>
                      <a:pt x="165913" y="325604"/>
                    </a:cubicBezTo>
                    <a:cubicBezTo>
                      <a:pt x="163056" y="329176"/>
                      <a:pt x="160199" y="332748"/>
                      <a:pt x="157343" y="336321"/>
                    </a:cubicBezTo>
                    <a:cubicBezTo>
                      <a:pt x="153772" y="341322"/>
                      <a:pt x="150201" y="346323"/>
                      <a:pt x="147344" y="351325"/>
                    </a:cubicBezTo>
                    <a:cubicBezTo>
                      <a:pt x="145202" y="354897"/>
                      <a:pt x="143059" y="358469"/>
                      <a:pt x="140916" y="362042"/>
                    </a:cubicBezTo>
                    <a:cubicBezTo>
                      <a:pt x="135917" y="372759"/>
                      <a:pt x="130918" y="382761"/>
                      <a:pt x="128061" y="393478"/>
                    </a:cubicBezTo>
                    <a:cubicBezTo>
                      <a:pt x="120919" y="414912"/>
                      <a:pt x="117348" y="436346"/>
                      <a:pt x="117348" y="459210"/>
                    </a:cubicBezTo>
                    <a:cubicBezTo>
                      <a:pt x="117348" y="462068"/>
                      <a:pt x="117348" y="465640"/>
                      <a:pt x="117348" y="469212"/>
                    </a:cubicBezTo>
                    <a:cubicBezTo>
                      <a:pt x="117348" y="469927"/>
                      <a:pt x="117348" y="470641"/>
                      <a:pt x="117348" y="471356"/>
                    </a:cubicBezTo>
                    <a:cubicBezTo>
                      <a:pt x="117348" y="471356"/>
                      <a:pt x="117348" y="471356"/>
                      <a:pt x="117348" y="472070"/>
                    </a:cubicBezTo>
                    <a:cubicBezTo>
                      <a:pt x="117348" y="474213"/>
                      <a:pt x="118063" y="476357"/>
                      <a:pt x="118063" y="478500"/>
                    </a:cubicBezTo>
                    <a:cubicBezTo>
                      <a:pt x="118063" y="479929"/>
                      <a:pt x="118063" y="481358"/>
                      <a:pt x="118063" y="482072"/>
                    </a:cubicBezTo>
                    <a:cubicBezTo>
                      <a:pt x="118777" y="484216"/>
                      <a:pt x="118777" y="486359"/>
                      <a:pt x="119491" y="488503"/>
                    </a:cubicBezTo>
                    <a:cubicBezTo>
                      <a:pt x="119491" y="488503"/>
                      <a:pt x="119491" y="491361"/>
                      <a:pt x="119491" y="492075"/>
                    </a:cubicBezTo>
                    <a:cubicBezTo>
                      <a:pt x="120205" y="494933"/>
                      <a:pt x="120919" y="497077"/>
                      <a:pt x="120919" y="500649"/>
                    </a:cubicBezTo>
                    <a:cubicBezTo>
                      <a:pt x="120919" y="501363"/>
                      <a:pt x="121634" y="501363"/>
                      <a:pt x="121634" y="502078"/>
                    </a:cubicBezTo>
                    <a:cubicBezTo>
                      <a:pt x="122348" y="504936"/>
                      <a:pt x="123062" y="508508"/>
                      <a:pt x="123776" y="511366"/>
                    </a:cubicBezTo>
                    <a:cubicBezTo>
                      <a:pt x="123776" y="512080"/>
                      <a:pt x="124490" y="514224"/>
                      <a:pt x="124490" y="514224"/>
                    </a:cubicBezTo>
                    <a:cubicBezTo>
                      <a:pt x="125204" y="516367"/>
                      <a:pt x="125204" y="518510"/>
                      <a:pt x="125919" y="520654"/>
                    </a:cubicBezTo>
                    <a:cubicBezTo>
                      <a:pt x="126633" y="521368"/>
                      <a:pt x="126633" y="522797"/>
                      <a:pt x="127347" y="523512"/>
                    </a:cubicBezTo>
                    <a:cubicBezTo>
                      <a:pt x="128061" y="525655"/>
                      <a:pt x="128775" y="527799"/>
                      <a:pt x="129489" y="529942"/>
                    </a:cubicBezTo>
                    <a:cubicBezTo>
                      <a:pt x="129489" y="530657"/>
                      <a:pt x="130204" y="532086"/>
                      <a:pt x="130204" y="532800"/>
                    </a:cubicBezTo>
                    <a:cubicBezTo>
                      <a:pt x="130918" y="534943"/>
                      <a:pt x="132346" y="537087"/>
                      <a:pt x="133060" y="539230"/>
                    </a:cubicBezTo>
                    <a:cubicBezTo>
                      <a:pt x="133060" y="539230"/>
                      <a:pt x="133060" y="539230"/>
                      <a:pt x="133774" y="541374"/>
                    </a:cubicBezTo>
                    <a:cubicBezTo>
                      <a:pt x="135203" y="544232"/>
                      <a:pt x="136631" y="547089"/>
                      <a:pt x="138060" y="549947"/>
                    </a:cubicBezTo>
                    <a:cubicBezTo>
                      <a:pt x="138060" y="550662"/>
                      <a:pt x="138774" y="552091"/>
                      <a:pt x="138774" y="552091"/>
                    </a:cubicBezTo>
                    <a:cubicBezTo>
                      <a:pt x="139488" y="554234"/>
                      <a:pt x="140916" y="556377"/>
                      <a:pt x="141631" y="558521"/>
                    </a:cubicBezTo>
                    <a:cubicBezTo>
                      <a:pt x="142345" y="559235"/>
                      <a:pt x="143059" y="559950"/>
                      <a:pt x="143059" y="560664"/>
                    </a:cubicBezTo>
                    <a:cubicBezTo>
                      <a:pt x="143059" y="560664"/>
                      <a:pt x="143059" y="560664"/>
                      <a:pt x="143773" y="561379"/>
                    </a:cubicBezTo>
                    <a:cubicBezTo>
                      <a:pt x="144487" y="562808"/>
                      <a:pt x="145916" y="564951"/>
                      <a:pt x="146630" y="566380"/>
                    </a:cubicBezTo>
                    <a:cubicBezTo>
                      <a:pt x="147344" y="567809"/>
                      <a:pt x="148058" y="568523"/>
                      <a:pt x="148058" y="569238"/>
                    </a:cubicBezTo>
                    <a:cubicBezTo>
                      <a:pt x="149487" y="571381"/>
                      <a:pt x="150915" y="572810"/>
                      <a:pt x="151629" y="574954"/>
                    </a:cubicBezTo>
                    <a:cubicBezTo>
                      <a:pt x="151629" y="574954"/>
                      <a:pt x="153057" y="576383"/>
                      <a:pt x="153772" y="577097"/>
                    </a:cubicBezTo>
                    <a:cubicBezTo>
                      <a:pt x="155200" y="579955"/>
                      <a:pt x="157343" y="582098"/>
                      <a:pt x="158771" y="584956"/>
                    </a:cubicBezTo>
                    <a:cubicBezTo>
                      <a:pt x="158771" y="584956"/>
                      <a:pt x="159485" y="584956"/>
                      <a:pt x="159485" y="585671"/>
                    </a:cubicBezTo>
                    <a:cubicBezTo>
                      <a:pt x="160913" y="587814"/>
                      <a:pt x="163056" y="589958"/>
                      <a:pt x="164484" y="592101"/>
                    </a:cubicBezTo>
                    <a:cubicBezTo>
                      <a:pt x="165199" y="592815"/>
                      <a:pt x="165913" y="592815"/>
                      <a:pt x="165913" y="593530"/>
                    </a:cubicBezTo>
                    <a:cubicBezTo>
                      <a:pt x="165913" y="593530"/>
                      <a:pt x="165913" y="593530"/>
                      <a:pt x="166627" y="594244"/>
                    </a:cubicBezTo>
                    <a:cubicBezTo>
                      <a:pt x="168055" y="595673"/>
                      <a:pt x="169484" y="597102"/>
                      <a:pt x="170912" y="599246"/>
                    </a:cubicBezTo>
                    <a:cubicBezTo>
                      <a:pt x="171626" y="599960"/>
                      <a:pt x="172340" y="600675"/>
                      <a:pt x="173055" y="601389"/>
                    </a:cubicBezTo>
                    <a:cubicBezTo>
                      <a:pt x="174483" y="602818"/>
                      <a:pt x="175911" y="604247"/>
                      <a:pt x="177340" y="605676"/>
                    </a:cubicBezTo>
                    <a:cubicBezTo>
                      <a:pt x="177340" y="605676"/>
                      <a:pt x="177340" y="605676"/>
                      <a:pt x="177340" y="606390"/>
                    </a:cubicBezTo>
                    <a:cubicBezTo>
                      <a:pt x="178054" y="607105"/>
                      <a:pt x="178768" y="607819"/>
                      <a:pt x="179482" y="607819"/>
                    </a:cubicBezTo>
                    <a:cubicBezTo>
                      <a:pt x="180910" y="609963"/>
                      <a:pt x="183053" y="611392"/>
                      <a:pt x="185196" y="613535"/>
                    </a:cubicBezTo>
                    <a:cubicBezTo>
                      <a:pt x="185196" y="613535"/>
                      <a:pt x="185196" y="613535"/>
                      <a:pt x="185910" y="614250"/>
                    </a:cubicBezTo>
                    <a:cubicBezTo>
                      <a:pt x="188052" y="616393"/>
                      <a:pt x="190909" y="618536"/>
                      <a:pt x="193052" y="620680"/>
                    </a:cubicBezTo>
                    <a:cubicBezTo>
                      <a:pt x="193766" y="620680"/>
                      <a:pt x="194480" y="621394"/>
                      <a:pt x="194480" y="622109"/>
                    </a:cubicBezTo>
                    <a:cubicBezTo>
                      <a:pt x="194480" y="622109"/>
                      <a:pt x="194480" y="622109"/>
                      <a:pt x="195194" y="622109"/>
                    </a:cubicBezTo>
                    <a:cubicBezTo>
                      <a:pt x="196623" y="623538"/>
                      <a:pt x="198765" y="624967"/>
                      <a:pt x="200193" y="626396"/>
                    </a:cubicBezTo>
                    <a:cubicBezTo>
                      <a:pt x="200908" y="627110"/>
                      <a:pt x="202336" y="627824"/>
                      <a:pt x="203050" y="628539"/>
                    </a:cubicBezTo>
                    <a:cubicBezTo>
                      <a:pt x="204478" y="629253"/>
                      <a:pt x="206621" y="630682"/>
                      <a:pt x="208049" y="631397"/>
                    </a:cubicBezTo>
                    <a:cubicBezTo>
                      <a:pt x="208764" y="632111"/>
                      <a:pt x="210192" y="632826"/>
                      <a:pt x="210906" y="633540"/>
                    </a:cubicBezTo>
                    <a:cubicBezTo>
                      <a:pt x="212335" y="634969"/>
                      <a:pt x="214477" y="635684"/>
                      <a:pt x="216620" y="637112"/>
                    </a:cubicBezTo>
                    <a:cubicBezTo>
                      <a:pt x="217334" y="637827"/>
                      <a:pt x="218048" y="637827"/>
                      <a:pt x="218762" y="638541"/>
                    </a:cubicBezTo>
                    <a:cubicBezTo>
                      <a:pt x="221619" y="639970"/>
                      <a:pt x="223761" y="641399"/>
                      <a:pt x="226618" y="642828"/>
                    </a:cubicBezTo>
                    <a:cubicBezTo>
                      <a:pt x="227332" y="643543"/>
                      <a:pt x="228046" y="643543"/>
                      <a:pt x="228046" y="644257"/>
                    </a:cubicBezTo>
                    <a:cubicBezTo>
                      <a:pt x="228046" y="644257"/>
                      <a:pt x="228046" y="644257"/>
                      <a:pt x="228761" y="644257"/>
                    </a:cubicBezTo>
                    <a:cubicBezTo>
                      <a:pt x="230903" y="644972"/>
                      <a:pt x="233046" y="646401"/>
                      <a:pt x="235188" y="647115"/>
                    </a:cubicBezTo>
                    <a:cubicBezTo>
                      <a:pt x="235903" y="647830"/>
                      <a:pt x="236617" y="647830"/>
                      <a:pt x="237331" y="648544"/>
                    </a:cubicBezTo>
                    <a:cubicBezTo>
                      <a:pt x="237331" y="648544"/>
                      <a:pt x="237331" y="648544"/>
                      <a:pt x="238045" y="648544"/>
                    </a:cubicBezTo>
                    <a:cubicBezTo>
                      <a:pt x="240188" y="649259"/>
                      <a:pt x="241616" y="650688"/>
                      <a:pt x="243759" y="651402"/>
                    </a:cubicBezTo>
                    <a:cubicBezTo>
                      <a:pt x="244473" y="651402"/>
                      <a:pt x="245901" y="652117"/>
                      <a:pt x="246615" y="652831"/>
                    </a:cubicBezTo>
                    <a:cubicBezTo>
                      <a:pt x="248758" y="653545"/>
                      <a:pt x="250900" y="654260"/>
                      <a:pt x="252329" y="654974"/>
                    </a:cubicBezTo>
                    <a:cubicBezTo>
                      <a:pt x="252329" y="654974"/>
                      <a:pt x="253757" y="654974"/>
                      <a:pt x="253757" y="655689"/>
                    </a:cubicBezTo>
                    <a:cubicBezTo>
                      <a:pt x="254471" y="655689"/>
                      <a:pt x="254471" y="656403"/>
                      <a:pt x="255185" y="656403"/>
                    </a:cubicBezTo>
                    <a:cubicBezTo>
                      <a:pt x="256614" y="659261"/>
                      <a:pt x="258756" y="661405"/>
                      <a:pt x="260185" y="663548"/>
                    </a:cubicBezTo>
                    <a:cubicBezTo>
                      <a:pt x="260899" y="664262"/>
                      <a:pt x="262327" y="665691"/>
                      <a:pt x="262327" y="665691"/>
                    </a:cubicBezTo>
                    <a:cubicBezTo>
                      <a:pt x="263756" y="667835"/>
                      <a:pt x="265184" y="669264"/>
                      <a:pt x="267327" y="671407"/>
                    </a:cubicBezTo>
                    <a:cubicBezTo>
                      <a:pt x="267327" y="671407"/>
                      <a:pt x="268041" y="672836"/>
                      <a:pt x="268755" y="672836"/>
                    </a:cubicBezTo>
                    <a:cubicBezTo>
                      <a:pt x="270897" y="674979"/>
                      <a:pt x="272326" y="677123"/>
                      <a:pt x="274468" y="679266"/>
                    </a:cubicBezTo>
                    <a:cubicBezTo>
                      <a:pt x="275182" y="679981"/>
                      <a:pt x="275897" y="680695"/>
                      <a:pt x="276611" y="681410"/>
                    </a:cubicBezTo>
                    <a:cubicBezTo>
                      <a:pt x="278753" y="683553"/>
                      <a:pt x="280896" y="685697"/>
                      <a:pt x="283038" y="687840"/>
                    </a:cubicBezTo>
                    <a:cubicBezTo>
                      <a:pt x="283753" y="687840"/>
                      <a:pt x="284467" y="689269"/>
                      <a:pt x="284467" y="689269"/>
                    </a:cubicBezTo>
                    <a:cubicBezTo>
                      <a:pt x="286609" y="690698"/>
                      <a:pt x="288752" y="692127"/>
                      <a:pt x="290180" y="694270"/>
                    </a:cubicBezTo>
                    <a:cubicBezTo>
                      <a:pt x="290180" y="694270"/>
                      <a:pt x="290180" y="694270"/>
                      <a:pt x="292323" y="695699"/>
                    </a:cubicBezTo>
                    <a:cubicBezTo>
                      <a:pt x="295179" y="697843"/>
                      <a:pt x="297322" y="699272"/>
                      <a:pt x="299465" y="701415"/>
                    </a:cubicBezTo>
                    <a:cubicBezTo>
                      <a:pt x="300179" y="701415"/>
                      <a:pt x="301607" y="702844"/>
                      <a:pt x="301607" y="702844"/>
                    </a:cubicBezTo>
                    <a:cubicBezTo>
                      <a:pt x="303750" y="704273"/>
                      <a:pt x="305892" y="705702"/>
                      <a:pt x="308035" y="707131"/>
                    </a:cubicBezTo>
                    <a:cubicBezTo>
                      <a:pt x="308035" y="707131"/>
                      <a:pt x="308035" y="707131"/>
                      <a:pt x="309463" y="708560"/>
                    </a:cubicBezTo>
                    <a:cubicBezTo>
                      <a:pt x="312320" y="709988"/>
                      <a:pt x="315176" y="712132"/>
                      <a:pt x="317319" y="713561"/>
                    </a:cubicBezTo>
                    <a:cubicBezTo>
                      <a:pt x="318033" y="714275"/>
                      <a:pt x="318747" y="714275"/>
                      <a:pt x="319462" y="714990"/>
                    </a:cubicBezTo>
                    <a:cubicBezTo>
                      <a:pt x="323033" y="716419"/>
                      <a:pt x="325175" y="717848"/>
                      <a:pt x="328032" y="719277"/>
                    </a:cubicBezTo>
                    <a:cubicBezTo>
                      <a:pt x="328032" y="719991"/>
                      <a:pt x="328746" y="719991"/>
                      <a:pt x="328746" y="719991"/>
                    </a:cubicBezTo>
                    <a:cubicBezTo>
                      <a:pt x="331603" y="721420"/>
                      <a:pt x="333745" y="722849"/>
                      <a:pt x="336602" y="724278"/>
                    </a:cubicBezTo>
                    <a:cubicBezTo>
                      <a:pt x="336602" y="724278"/>
                      <a:pt x="336602" y="724278"/>
                      <a:pt x="338744" y="724992"/>
                    </a:cubicBezTo>
                    <a:cubicBezTo>
                      <a:pt x="341601" y="726421"/>
                      <a:pt x="344458" y="727850"/>
                      <a:pt x="347315" y="728565"/>
                    </a:cubicBezTo>
                    <a:cubicBezTo>
                      <a:pt x="347315" y="728565"/>
                      <a:pt x="347315" y="728565"/>
                      <a:pt x="349457" y="729994"/>
                    </a:cubicBezTo>
                    <a:cubicBezTo>
                      <a:pt x="351600" y="730708"/>
                      <a:pt x="354457" y="732137"/>
                      <a:pt x="357313" y="732852"/>
                    </a:cubicBezTo>
                    <a:cubicBezTo>
                      <a:pt x="357313" y="732852"/>
                      <a:pt x="358028" y="733566"/>
                      <a:pt x="358742" y="733566"/>
                    </a:cubicBezTo>
                    <a:cubicBezTo>
                      <a:pt x="361598" y="734281"/>
                      <a:pt x="364455" y="735710"/>
                      <a:pt x="368026" y="736424"/>
                    </a:cubicBezTo>
                    <a:cubicBezTo>
                      <a:pt x="368026" y="736424"/>
                      <a:pt x="368026" y="736424"/>
                      <a:pt x="370168" y="737138"/>
                    </a:cubicBezTo>
                    <a:cubicBezTo>
                      <a:pt x="373739" y="738567"/>
                      <a:pt x="376596" y="739282"/>
                      <a:pt x="379453" y="739996"/>
                    </a:cubicBezTo>
                    <a:cubicBezTo>
                      <a:pt x="379453" y="739996"/>
                      <a:pt x="379453" y="739996"/>
                      <a:pt x="380167" y="739996"/>
                    </a:cubicBezTo>
                    <a:cubicBezTo>
                      <a:pt x="383024" y="740711"/>
                      <a:pt x="385880" y="741425"/>
                      <a:pt x="389451" y="742140"/>
                    </a:cubicBezTo>
                    <a:cubicBezTo>
                      <a:pt x="389451" y="742140"/>
                      <a:pt x="389451" y="742140"/>
                      <a:pt x="391594" y="742854"/>
                    </a:cubicBezTo>
                    <a:cubicBezTo>
                      <a:pt x="394451" y="743569"/>
                      <a:pt x="398022" y="743569"/>
                      <a:pt x="400878" y="744283"/>
                    </a:cubicBezTo>
                    <a:cubicBezTo>
                      <a:pt x="400878" y="744283"/>
                      <a:pt x="400878" y="744283"/>
                      <a:pt x="403021" y="744283"/>
                    </a:cubicBezTo>
                    <a:cubicBezTo>
                      <a:pt x="405878" y="744998"/>
                      <a:pt x="408734" y="745712"/>
                      <a:pt x="411591" y="745712"/>
                    </a:cubicBezTo>
                    <a:cubicBezTo>
                      <a:pt x="411591" y="745712"/>
                      <a:pt x="411591" y="745712"/>
                      <a:pt x="413734" y="745712"/>
                    </a:cubicBezTo>
                    <a:cubicBezTo>
                      <a:pt x="416590" y="746426"/>
                      <a:pt x="420161" y="746426"/>
                      <a:pt x="423732" y="746426"/>
                    </a:cubicBezTo>
                    <a:cubicBezTo>
                      <a:pt x="423732" y="746426"/>
                      <a:pt x="423732" y="746426"/>
                      <a:pt x="425875" y="747141"/>
                    </a:cubicBezTo>
                    <a:cubicBezTo>
                      <a:pt x="429446" y="747141"/>
                      <a:pt x="433016" y="747141"/>
                      <a:pt x="436587" y="747141"/>
                    </a:cubicBezTo>
                    <a:cubicBezTo>
                      <a:pt x="440158" y="747141"/>
                      <a:pt x="444443" y="747141"/>
                      <a:pt x="448729" y="746426"/>
                    </a:cubicBezTo>
                    <a:cubicBezTo>
                      <a:pt x="449443" y="746426"/>
                      <a:pt x="450871" y="746426"/>
                      <a:pt x="451585" y="746426"/>
                    </a:cubicBezTo>
                    <a:cubicBezTo>
                      <a:pt x="451585" y="746426"/>
                      <a:pt x="451585" y="746426"/>
                      <a:pt x="452299" y="746426"/>
                    </a:cubicBezTo>
                    <a:cubicBezTo>
                      <a:pt x="455156" y="746426"/>
                      <a:pt x="458013" y="745712"/>
                      <a:pt x="460869" y="745712"/>
                    </a:cubicBezTo>
                    <a:cubicBezTo>
                      <a:pt x="461584" y="745712"/>
                      <a:pt x="463012" y="745712"/>
                      <a:pt x="464440" y="744998"/>
                    </a:cubicBezTo>
                    <a:cubicBezTo>
                      <a:pt x="464440" y="744998"/>
                      <a:pt x="464440" y="744998"/>
                      <a:pt x="465155" y="744998"/>
                    </a:cubicBezTo>
                    <a:cubicBezTo>
                      <a:pt x="468011" y="744998"/>
                      <a:pt x="470154" y="744283"/>
                      <a:pt x="473011" y="744283"/>
                    </a:cubicBezTo>
                    <a:cubicBezTo>
                      <a:pt x="473725" y="743569"/>
                      <a:pt x="475153" y="743569"/>
                      <a:pt x="476582" y="743569"/>
                    </a:cubicBezTo>
                    <a:cubicBezTo>
                      <a:pt x="476582" y="743569"/>
                      <a:pt x="476582" y="743569"/>
                      <a:pt x="477296" y="743569"/>
                    </a:cubicBezTo>
                    <a:cubicBezTo>
                      <a:pt x="479438" y="742854"/>
                      <a:pt x="482295" y="742140"/>
                      <a:pt x="484437" y="742140"/>
                    </a:cubicBezTo>
                    <a:cubicBezTo>
                      <a:pt x="485866" y="741425"/>
                      <a:pt x="487294" y="741425"/>
                      <a:pt x="488723" y="740711"/>
                    </a:cubicBezTo>
                    <a:cubicBezTo>
                      <a:pt x="491579" y="739996"/>
                      <a:pt x="493722" y="739282"/>
                      <a:pt x="496579" y="739282"/>
                    </a:cubicBezTo>
                    <a:cubicBezTo>
                      <a:pt x="498007" y="738567"/>
                      <a:pt x="498721" y="737853"/>
                      <a:pt x="500150" y="737853"/>
                    </a:cubicBezTo>
                    <a:cubicBezTo>
                      <a:pt x="503006" y="737138"/>
                      <a:pt x="505149" y="736424"/>
                      <a:pt x="508005" y="735710"/>
                    </a:cubicBezTo>
                    <a:cubicBezTo>
                      <a:pt x="508005" y="735710"/>
                      <a:pt x="508005" y="735710"/>
                      <a:pt x="508005" y="734995"/>
                    </a:cubicBezTo>
                    <a:cubicBezTo>
                      <a:pt x="509434" y="734995"/>
                      <a:pt x="510148" y="734281"/>
                      <a:pt x="511576" y="734281"/>
                    </a:cubicBezTo>
                    <a:cubicBezTo>
                      <a:pt x="514433" y="733566"/>
                      <a:pt x="516576" y="732137"/>
                      <a:pt x="519432" y="731423"/>
                    </a:cubicBezTo>
                    <a:cubicBezTo>
                      <a:pt x="519432" y="731423"/>
                      <a:pt x="521575" y="730708"/>
                      <a:pt x="522289" y="729994"/>
                    </a:cubicBezTo>
                    <a:cubicBezTo>
                      <a:pt x="525146" y="728565"/>
                      <a:pt x="528002" y="727850"/>
                      <a:pt x="531573" y="725707"/>
                    </a:cubicBezTo>
                    <a:cubicBezTo>
                      <a:pt x="532288" y="725707"/>
                      <a:pt x="532288" y="725707"/>
                      <a:pt x="533002" y="725707"/>
                    </a:cubicBezTo>
                    <a:cubicBezTo>
                      <a:pt x="552285" y="716419"/>
                      <a:pt x="570854" y="704273"/>
                      <a:pt x="587280" y="689983"/>
                    </a:cubicBezTo>
                    <a:cubicBezTo>
                      <a:pt x="587280" y="689983"/>
                      <a:pt x="587994" y="690698"/>
                      <a:pt x="588708" y="690698"/>
                    </a:cubicBezTo>
                    <a:cubicBezTo>
                      <a:pt x="588708" y="690698"/>
                      <a:pt x="588708" y="690698"/>
                      <a:pt x="590136" y="692127"/>
                    </a:cubicBezTo>
                    <a:cubicBezTo>
                      <a:pt x="592993" y="693556"/>
                      <a:pt x="595135" y="694985"/>
                      <a:pt x="597278" y="696414"/>
                    </a:cubicBezTo>
                    <a:cubicBezTo>
                      <a:pt x="597278" y="696414"/>
                      <a:pt x="597278" y="696414"/>
                      <a:pt x="597992" y="696414"/>
                    </a:cubicBezTo>
                    <a:cubicBezTo>
                      <a:pt x="600135" y="697843"/>
                      <a:pt x="602277" y="699272"/>
                      <a:pt x="605134" y="700700"/>
                    </a:cubicBezTo>
                    <a:cubicBezTo>
                      <a:pt x="607991" y="702129"/>
                      <a:pt x="610133" y="703558"/>
                      <a:pt x="612276" y="704273"/>
                    </a:cubicBezTo>
                    <a:cubicBezTo>
                      <a:pt x="612990" y="704987"/>
                      <a:pt x="612990" y="704987"/>
                      <a:pt x="613704" y="704987"/>
                    </a:cubicBezTo>
                    <a:cubicBezTo>
                      <a:pt x="615847" y="706416"/>
                      <a:pt x="617989" y="707131"/>
                      <a:pt x="620846" y="707845"/>
                    </a:cubicBezTo>
                    <a:cubicBezTo>
                      <a:pt x="620846" y="708560"/>
                      <a:pt x="621560" y="708560"/>
                      <a:pt x="622274" y="708560"/>
                    </a:cubicBezTo>
                    <a:cubicBezTo>
                      <a:pt x="624417" y="709274"/>
                      <a:pt x="626560" y="710703"/>
                      <a:pt x="628702" y="711417"/>
                    </a:cubicBezTo>
                    <a:cubicBezTo>
                      <a:pt x="629416" y="711417"/>
                      <a:pt x="630130" y="711417"/>
                      <a:pt x="630845" y="712132"/>
                    </a:cubicBezTo>
                    <a:cubicBezTo>
                      <a:pt x="632987" y="712846"/>
                      <a:pt x="635130" y="713561"/>
                      <a:pt x="637272" y="714275"/>
                    </a:cubicBezTo>
                    <a:cubicBezTo>
                      <a:pt x="637987" y="714275"/>
                      <a:pt x="638701" y="714275"/>
                      <a:pt x="639415" y="714990"/>
                    </a:cubicBezTo>
                    <a:cubicBezTo>
                      <a:pt x="641557" y="715704"/>
                      <a:pt x="643700" y="715704"/>
                      <a:pt x="645842" y="716419"/>
                    </a:cubicBezTo>
                    <a:cubicBezTo>
                      <a:pt x="646557" y="717133"/>
                      <a:pt x="647271" y="717133"/>
                      <a:pt x="648699" y="717133"/>
                    </a:cubicBezTo>
                    <a:cubicBezTo>
                      <a:pt x="648699" y="717133"/>
                      <a:pt x="648699" y="717133"/>
                      <a:pt x="649413" y="717133"/>
                    </a:cubicBezTo>
                    <a:cubicBezTo>
                      <a:pt x="650842" y="717848"/>
                      <a:pt x="652984" y="718562"/>
                      <a:pt x="655127" y="718562"/>
                    </a:cubicBezTo>
                    <a:cubicBezTo>
                      <a:pt x="655841" y="718562"/>
                      <a:pt x="656555" y="719277"/>
                      <a:pt x="657269" y="719277"/>
                    </a:cubicBezTo>
                    <a:cubicBezTo>
                      <a:pt x="657269" y="719277"/>
                      <a:pt x="657269" y="719277"/>
                      <a:pt x="659412" y="719277"/>
                    </a:cubicBezTo>
                    <a:cubicBezTo>
                      <a:pt x="660840" y="719991"/>
                      <a:pt x="662269" y="719991"/>
                      <a:pt x="663697" y="719991"/>
                    </a:cubicBezTo>
                    <a:cubicBezTo>
                      <a:pt x="665125" y="720706"/>
                      <a:pt x="665839" y="720706"/>
                      <a:pt x="667268" y="720706"/>
                    </a:cubicBezTo>
                    <a:cubicBezTo>
                      <a:pt x="667268" y="720706"/>
                      <a:pt x="667268" y="720706"/>
                      <a:pt x="669410" y="720706"/>
                    </a:cubicBezTo>
                    <a:cubicBezTo>
                      <a:pt x="670125" y="720706"/>
                      <a:pt x="671553" y="721420"/>
                      <a:pt x="672981" y="721420"/>
                    </a:cubicBezTo>
                    <a:cubicBezTo>
                      <a:pt x="674410" y="721420"/>
                      <a:pt x="675838" y="721420"/>
                      <a:pt x="677266" y="721420"/>
                    </a:cubicBezTo>
                    <a:cubicBezTo>
                      <a:pt x="677266" y="721420"/>
                      <a:pt x="677266" y="721420"/>
                      <a:pt x="679409" y="722135"/>
                    </a:cubicBezTo>
                    <a:cubicBezTo>
                      <a:pt x="680123" y="722135"/>
                      <a:pt x="681552" y="722135"/>
                      <a:pt x="682266" y="722135"/>
                    </a:cubicBezTo>
                    <a:cubicBezTo>
                      <a:pt x="685122" y="722135"/>
                      <a:pt x="688693" y="722135"/>
                      <a:pt x="691550" y="722135"/>
                    </a:cubicBezTo>
                    <a:cubicBezTo>
                      <a:pt x="694407" y="722135"/>
                      <a:pt x="697978" y="722135"/>
                      <a:pt x="700834" y="722135"/>
                    </a:cubicBezTo>
                    <a:cubicBezTo>
                      <a:pt x="701549" y="722135"/>
                      <a:pt x="702263" y="722135"/>
                      <a:pt x="703691" y="722135"/>
                    </a:cubicBezTo>
                    <a:cubicBezTo>
                      <a:pt x="703691" y="722135"/>
                      <a:pt x="703691" y="722135"/>
                      <a:pt x="704405" y="722135"/>
                    </a:cubicBezTo>
                    <a:cubicBezTo>
                      <a:pt x="706548" y="721420"/>
                      <a:pt x="707976" y="721420"/>
                      <a:pt x="710119" y="721420"/>
                    </a:cubicBezTo>
                    <a:cubicBezTo>
                      <a:pt x="710833" y="721420"/>
                      <a:pt x="712261" y="721420"/>
                      <a:pt x="712975" y="720706"/>
                    </a:cubicBezTo>
                    <a:cubicBezTo>
                      <a:pt x="712975" y="720706"/>
                      <a:pt x="712975" y="720706"/>
                      <a:pt x="715118" y="720706"/>
                    </a:cubicBezTo>
                    <a:cubicBezTo>
                      <a:pt x="716546" y="720706"/>
                      <a:pt x="717975" y="720706"/>
                      <a:pt x="718689" y="719991"/>
                    </a:cubicBezTo>
                    <a:cubicBezTo>
                      <a:pt x="720117" y="719991"/>
                      <a:pt x="721546" y="719991"/>
                      <a:pt x="722260" y="719991"/>
                    </a:cubicBezTo>
                    <a:cubicBezTo>
                      <a:pt x="722260" y="719991"/>
                      <a:pt x="722260" y="719991"/>
                      <a:pt x="724402" y="719277"/>
                    </a:cubicBezTo>
                    <a:cubicBezTo>
                      <a:pt x="725117" y="719277"/>
                      <a:pt x="726545" y="719277"/>
                      <a:pt x="727973" y="718562"/>
                    </a:cubicBezTo>
                    <a:cubicBezTo>
                      <a:pt x="729402" y="718562"/>
                      <a:pt x="730830" y="717848"/>
                      <a:pt x="731544" y="717848"/>
                    </a:cubicBezTo>
                    <a:cubicBezTo>
                      <a:pt x="731544" y="717848"/>
                      <a:pt x="731544" y="717848"/>
                      <a:pt x="732973" y="717848"/>
                    </a:cubicBezTo>
                    <a:cubicBezTo>
                      <a:pt x="734401" y="717133"/>
                      <a:pt x="735115" y="717133"/>
                      <a:pt x="736543" y="716419"/>
                    </a:cubicBezTo>
                    <a:cubicBezTo>
                      <a:pt x="737972" y="716419"/>
                      <a:pt x="739400" y="715704"/>
                      <a:pt x="740828" y="715704"/>
                    </a:cubicBezTo>
                    <a:cubicBezTo>
                      <a:pt x="740828" y="715704"/>
                      <a:pt x="740828" y="715704"/>
                      <a:pt x="742257" y="714990"/>
                    </a:cubicBezTo>
                    <a:cubicBezTo>
                      <a:pt x="742971" y="714990"/>
                      <a:pt x="743685" y="714990"/>
                      <a:pt x="745114" y="714275"/>
                    </a:cubicBezTo>
                    <a:cubicBezTo>
                      <a:pt x="746542" y="713561"/>
                      <a:pt x="748685" y="713561"/>
                      <a:pt x="750113" y="712846"/>
                    </a:cubicBezTo>
                    <a:cubicBezTo>
                      <a:pt x="750113" y="712846"/>
                      <a:pt x="750113" y="712846"/>
                      <a:pt x="750827" y="712846"/>
                    </a:cubicBezTo>
                    <a:cubicBezTo>
                      <a:pt x="751541" y="712132"/>
                      <a:pt x="752255" y="712132"/>
                      <a:pt x="752970" y="711417"/>
                    </a:cubicBezTo>
                    <a:cubicBezTo>
                      <a:pt x="755112" y="710703"/>
                      <a:pt x="756541" y="710703"/>
                      <a:pt x="758683" y="709988"/>
                    </a:cubicBezTo>
                    <a:cubicBezTo>
                      <a:pt x="758683" y="709988"/>
                      <a:pt x="758683" y="709988"/>
                      <a:pt x="758683" y="709274"/>
                    </a:cubicBezTo>
                    <a:cubicBezTo>
                      <a:pt x="760111" y="709274"/>
                      <a:pt x="760825" y="708560"/>
                      <a:pt x="761540" y="708560"/>
                    </a:cubicBezTo>
                    <a:cubicBezTo>
                      <a:pt x="762968" y="707845"/>
                      <a:pt x="765111" y="707131"/>
                      <a:pt x="766539" y="706416"/>
                    </a:cubicBezTo>
                    <a:cubicBezTo>
                      <a:pt x="766539" y="706416"/>
                      <a:pt x="768682" y="705702"/>
                      <a:pt x="769396" y="704987"/>
                    </a:cubicBezTo>
                    <a:cubicBezTo>
                      <a:pt x="770824" y="704273"/>
                      <a:pt x="772967" y="703558"/>
                      <a:pt x="775109" y="702129"/>
                    </a:cubicBezTo>
                    <a:cubicBezTo>
                      <a:pt x="775823" y="702129"/>
                      <a:pt x="776538" y="701415"/>
                      <a:pt x="777252" y="701415"/>
                    </a:cubicBezTo>
                    <a:cubicBezTo>
                      <a:pt x="778680" y="700700"/>
                      <a:pt x="780823" y="699272"/>
                      <a:pt x="782251" y="698557"/>
                    </a:cubicBezTo>
                    <a:cubicBezTo>
                      <a:pt x="782965" y="697843"/>
                      <a:pt x="783679" y="697843"/>
                      <a:pt x="784393" y="697128"/>
                    </a:cubicBezTo>
                    <a:cubicBezTo>
                      <a:pt x="786536" y="696414"/>
                      <a:pt x="787964" y="694985"/>
                      <a:pt x="790107" y="693556"/>
                    </a:cubicBezTo>
                    <a:cubicBezTo>
                      <a:pt x="790107" y="693556"/>
                      <a:pt x="790107" y="693556"/>
                      <a:pt x="791535" y="692841"/>
                    </a:cubicBezTo>
                    <a:cubicBezTo>
                      <a:pt x="793678" y="691412"/>
                      <a:pt x="795106" y="689983"/>
                      <a:pt x="797249" y="689269"/>
                    </a:cubicBezTo>
                    <a:cubicBezTo>
                      <a:pt x="797249" y="689269"/>
                      <a:pt x="798677" y="687840"/>
                      <a:pt x="799391" y="687840"/>
                    </a:cubicBezTo>
                    <a:cubicBezTo>
                      <a:pt x="799391" y="687840"/>
                      <a:pt x="799391" y="687840"/>
                      <a:pt x="800106" y="687840"/>
                    </a:cubicBezTo>
                    <a:cubicBezTo>
                      <a:pt x="802248" y="688554"/>
                      <a:pt x="803677" y="689269"/>
                      <a:pt x="805105" y="690698"/>
                    </a:cubicBezTo>
                    <a:cubicBezTo>
                      <a:pt x="806533" y="690698"/>
                      <a:pt x="807247" y="691412"/>
                      <a:pt x="807961" y="691412"/>
                    </a:cubicBezTo>
                    <a:cubicBezTo>
                      <a:pt x="807961" y="691412"/>
                      <a:pt x="807961" y="691412"/>
                      <a:pt x="808676" y="691412"/>
                    </a:cubicBezTo>
                    <a:cubicBezTo>
                      <a:pt x="810104" y="692127"/>
                      <a:pt x="810818" y="692841"/>
                      <a:pt x="812247" y="692841"/>
                    </a:cubicBezTo>
                    <a:cubicBezTo>
                      <a:pt x="812961" y="693556"/>
                      <a:pt x="814389" y="694270"/>
                      <a:pt x="815818" y="694270"/>
                    </a:cubicBezTo>
                    <a:cubicBezTo>
                      <a:pt x="816532" y="694985"/>
                      <a:pt x="817960" y="694985"/>
                      <a:pt x="819388" y="695699"/>
                    </a:cubicBezTo>
                    <a:cubicBezTo>
                      <a:pt x="819388" y="695699"/>
                      <a:pt x="819388" y="695699"/>
                      <a:pt x="820103" y="695699"/>
                    </a:cubicBezTo>
                    <a:cubicBezTo>
                      <a:pt x="820817" y="696414"/>
                      <a:pt x="821531" y="696414"/>
                      <a:pt x="822245" y="696414"/>
                    </a:cubicBezTo>
                    <a:cubicBezTo>
                      <a:pt x="824388" y="697128"/>
                      <a:pt x="826530" y="697843"/>
                      <a:pt x="829387" y="698557"/>
                    </a:cubicBezTo>
                    <a:cubicBezTo>
                      <a:pt x="829387" y="698557"/>
                      <a:pt x="829387" y="698557"/>
                      <a:pt x="831529" y="699272"/>
                    </a:cubicBezTo>
                    <a:cubicBezTo>
                      <a:pt x="832958" y="699272"/>
                      <a:pt x="835100" y="699986"/>
                      <a:pt x="836529" y="699986"/>
                    </a:cubicBezTo>
                    <a:cubicBezTo>
                      <a:pt x="837243" y="700700"/>
                      <a:pt x="838671" y="700700"/>
                      <a:pt x="839386" y="700700"/>
                    </a:cubicBezTo>
                    <a:cubicBezTo>
                      <a:pt x="841528" y="701415"/>
                      <a:pt x="842956" y="701415"/>
                      <a:pt x="845099" y="702129"/>
                    </a:cubicBezTo>
                    <a:cubicBezTo>
                      <a:pt x="845813" y="702129"/>
                      <a:pt x="845813" y="702129"/>
                      <a:pt x="846527" y="702129"/>
                    </a:cubicBezTo>
                    <a:cubicBezTo>
                      <a:pt x="849384" y="702844"/>
                      <a:pt x="851526" y="702844"/>
                      <a:pt x="854383" y="702844"/>
                    </a:cubicBezTo>
                    <a:cubicBezTo>
                      <a:pt x="854383" y="702844"/>
                      <a:pt x="854383" y="702844"/>
                      <a:pt x="856526" y="703558"/>
                    </a:cubicBezTo>
                    <a:cubicBezTo>
                      <a:pt x="857954" y="703558"/>
                      <a:pt x="860097" y="703558"/>
                      <a:pt x="862239" y="703558"/>
                    </a:cubicBezTo>
                    <a:cubicBezTo>
                      <a:pt x="862239" y="703558"/>
                      <a:pt x="862239" y="703558"/>
                      <a:pt x="864382" y="703558"/>
                    </a:cubicBezTo>
                    <a:cubicBezTo>
                      <a:pt x="867239" y="704273"/>
                      <a:pt x="869381" y="704273"/>
                      <a:pt x="872238" y="704273"/>
                    </a:cubicBezTo>
                    <a:cubicBezTo>
                      <a:pt x="875094" y="704273"/>
                      <a:pt x="877951" y="704273"/>
                      <a:pt x="880808" y="703558"/>
                    </a:cubicBezTo>
                    <a:cubicBezTo>
                      <a:pt x="881522" y="703558"/>
                      <a:pt x="882236" y="703558"/>
                      <a:pt x="882951" y="703558"/>
                    </a:cubicBezTo>
                    <a:cubicBezTo>
                      <a:pt x="882951" y="703558"/>
                      <a:pt x="882951" y="703558"/>
                      <a:pt x="883665" y="703558"/>
                    </a:cubicBezTo>
                    <a:cubicBezTo>
                      <a:pt x="885093" y="703558"/>
                      <a:pt x="887236" y="703558"/>
                      <a:pt x="888664" y="703558"/>
                    </a:cubicBezTo>
                    <a:cubicBezTo>
                      <a:pt x="889378" y="702844"/>
                      <a:pt x="890807" y="702844"/>
                      <a:pt x="891521" y="702844"/>
                    </a:cubicBezTo>
                    <a:cubicBezTo>
                      <a:pt x="891521" y="702844"/>
                      <a:pt x="891521" y="702844"/>
                      <a:pt x="892235" y="702844"/>
                    </a:cubicBezTo>
                    <a:cubicBezTo>
                      <a:pt x="893663" y="702844"/>
                      <a:pt x="895806" y="702129"/>
                      <a:pt x="897234" y="702129"/>
                    </a:cubicBezTo>
                    <a:cubicBezTo>
                      <a:pt x="897948" y="702129"/>
                      <a:pt x="898662" y="702129"/>
                      <a:pt x="900091" y="702129"/>
                    </a:cubicBezTo>
                    <a:cubicBezTo>
                      <a:pt x="900091" y="702129"/>
                      <a:pt x="900091" y="702129"/>
                      <a:pt x="900805" y="701415"/>
                    </a:cubicBezTo>
                    <a:cubicBezTo>
                      <a:pt x="902233" y="701415"/>
                      <a:pt x="903662" y="701415"/>
                      <a:pt x="905090" y="700700"/>
                    </a:cubicBezTo>
                    <a:cubicBezTo>
                      <a:pt x="905804" y="700700"/>
                      <a:pt x="907233" y="700700"/>
                      <a:pt x="907947" y="699986"/>
                    </a:cubicBezTo>
                    <a:cubicBezTo>
                      <a:pt x="907947" y="699986"/>
                      <a:pt x="907947" y="699986"/>
                      <a:pt x="908661" y="699986"/>
                    </a:cubicBezTo>
                    <a:cubicBezTo>
                      <a:pt x="910089" y="699986"/>
                      <a:pt x="911518" y="699272"/>
                      <a:pt x="912946" y="699272"/>
                    </a:cubicBezTo>
                    <a:cubicBezTo>
                      <a:pt x="914375" y="698557"/>
                      <a:pt x="915089" y="698557"/>
                      <a:pt x="916517" y="697843"/>
                    </a:cubicBezTo>
                    <a:cubicBezTo>
                      <a:pt x="917946" y="697843"/>
                      <a:pt x="919374" y="697128"/>
                      <a:pt x="920802" y="697128"/>
                    </a:cubicBezTo>
                    <a:cubicBezTo>
                      <a:pt x="922230" y="696414"/>
                      <a:pt x="922945" y="696414"/>
                      <a:pt x="924373" y="695699"/>
                    </a:cubicBezTo>
                    <a:cubicBezTo>
                      <a:pt x="925801" y="694985"/>
                      <a:pt x="927230" y="694985"/>
                      <a:pt x="928658" y="694270"/>
                    </a:cubicBezTo>
                    <a:cubicBezTo>
                      <a:pt x="929372" y="694270"/>
                      <a:pt x="930801" y="693556"/>
                      <a:pt x="932229" y="692841"/>
                    </a:cubicBezTo>
                    <a:cubicBezTo>
                      <a:pt x="933657" y="692841"/>
                      <a:pt x="934372" y="692127"/>
                      <a:pt x="935800" y="691412"/>
                    </a:cubicBezTo>
                    <a:cubicBezTo>
                      <a:pt x="937228" y="690698"/>
                      <a:pt x="938657" y="690698"/>
                      <a:pt x="939371" y="689983"/>
                    </a:cubicBezTo>
                    <a:cubicBezTo>
                      <a:pt x="940799" y="689269"/>
                      <a:pt x="942228" y="688554"/>
                      <a:pt x="943656" y="688554"/>
                    </a:cubicBezTo>
                    <a:cubicBezTo>
                      <a:pt x="944370" y="687840"/>
                      <a:pt x="945798" y="687126"/>
                      <a:pt x="946513" y="686411"/>
                    </a:cubicBezTo>
                    <a:cubicBezTo>
                      <a:pt x="947941" y="686411"/>
                      <a:pt x="949369" y="685697"/>
                      <a:pt x="950798" y="684982"/>
                    </a:cubicBezTo>
                    <a:cubicBezTo>
                      <a:pt x="951512" y="684268"/>
                      <a:pt x="952940" y="683553"/>
                      <a:pt x="953654" y="682839"/>
                    </a:cubicBezTo>
                    <a:cubicBezTo>
                      <a:pt x="955083" y="682124"/>
                      <a:pt x="956511" y="681410"/>
                      <a:pt x="957225" y="680695"/>
                    </a:cubicBezTo>
                    <a:cubicBezTo>
                      <a:pt x="957225" y="680695"/>
                      <a:pt x="957225" y="680695"/>
                      <a:pt x="957940" y="680695"/>
                    </a:cubicBezTo>
                    <a:cubicBezTo>
                      <a:pt x="958654" y="679981"/>
                      <a:pt x="959368" y="679266"/>
                      <a:pt x="960796" y="679266"/>
                    </a:cubicBezTo>
                    <a:cubicBezTo>
                      <a:pt x="961511" y="678552"/>
                      <a:pt x="962939" y="677837"/>
                      <a:pt x="964367" y="676408"/>
                    </a:cubicBezTo>
                    <a:cubicBezTo>
                      <a:pt x="964367" y="676408"/>
                      <a:pt x="964367" y="676408"/>
                      <a:pt x="965081" y="676408"/>
                    </a:cubicBezTo>
                    <a:cubicBezTo>
                      <a:pt x="965796" y="675694"/>
                      <a:pt x="966510" y="674979"/>
                      <a:pt x="967224" y="674979"/>
                    </a:cubicBezTo>
                    <a:cubicBezTo>
                      <a:pt x="968652" y="674265"/>
                      <a:pt x="969366" y="672836"/>
                      <a:pt x="970795" y="672122"/>
                    </a:cubicBezTo>
                    <a:cubicBezTo>
                      <a:pt x="970795" y="672122"/>
                      <a:pt x="970795" y="672122"/>
                      <a:pt x="971509" y="671407"/>
                    </a:cubicBezTo>
                    <a:cubicBezTo>
                      <a:pt x="972223" y="671407"/>
                      <a:pt x="972937" y="670693"/>
                      <a:pt x="973651" y="669978"/>
                    </a:cubicBezTo>
                    <a:cubicBezTo>
                      <a:pt x="974366" y="669264"/>
                      <a:pt x="975080" y="669264"/>
                      <a:pt x="975794" y="668549"/>
                    </a:cubicBezTo>
                    <a:cubicBezTo>
                      <a:pt x="975794" y="668549"/>
                      <a:pt x="975794" y="668549"/>
                      <a:pt x="991506" y="668549"/>
                    </a:cubicBezTo>
                    <a:cubicBezTo>
                      <a:pt x="1013646" y="668549"/>
                      <a:pt x="1035785" y="664262"/>
                      <a:pt x="1055782" y="656403"/>
                    </a:cubicBezTo>
                    <a:cubicBezTo>
                      <a:pt x="1059353" y="654974"/>
                      <a:pt x="1062210" y="653545"/>
                      <a:pt x="1065067" y="652831"/>
                    </a:cubicBezTo>
                    <a:cubicBezTo>
                      <a:pt x="1079350" y="646401"/>
                      <a:pt x="1092920" y="637827"/>
                      <a:pt x="1105061" y="627824"/>
                    </a:cubicBezTo>
                    <a:cubicBezTo>
                      <a:pt x="1107204" y="626396"/>
                      <a:pt x="1109346" y="624252"/>
                      <a:pt x="1111488" y="622823"/>
                    </a:cubicBezTo>
                    <a:cubicBezTo>
                      <a:pt x="1116488" y="617822"/>
                      <a:pt x="1121487" y="612821"/>
                      <a:pt x="1126486" y="607105"/>
                    </a:cubicBezTo>
                    <a:cubicBezTo>
                      <a:pt x="1129343" y="603532"/>
                      <a:pt x="1132200" y="600675"/>
                      <a:pt x="1134342" y="597817"/>
                    </a:cubicBezTo>
                    <a:cubicBezTo>
                      <a:pt x="1135771" y="595673"/>
                      <a:pt x="1137913" y="592815"/>
                      <a:pt x="1140056" y="590672"/>
                    </a:cubicBezTo>
                    <a:cubicBezTo>
                      <a:pt x="1142913" y="585671"/>
                      <a:pt x="1145769" y="581384"/>
                      <a:pt x="1148626" y="576383"/>
                    </a:cubicBezTo>
                    <a:cubicBezTo>
                      <a:pt x="1150054" y="573525"/>
                      <a:pt x="1151483" y="571381"/>
                      <a:pt x="1152911" y="568523"/>
                    </a:cubicBezTo>
                    <a:cubicBezTo>
                      <a:pt x="1155053" y="563522"/>
                      <a:pt x="1157910" y="557806"/>
                      <a:pt x="1159339" y="552805"/>
                    </a:cubicBezTo>
                    <a:cubicBezTo>
                      <a:pt x="1160767" y="549947"/>
                      <a:pt x="1161481" y="547089"/>
                      <a:pt x="1162195" y="544232"/>
                    </a:cubicBezTo>
                    <a:cubicBezTo>
                      <a:pt x="1165052" y="536372"/>
                      <a:pt x="1167195" y="527084"/>
                      <a:pt x="1168623" y="518510"/>
                    </a:cubicBezTo>
                    <a:cubicBezTo>
                      <a:pt x="1170051" y="509937"/>
                      <a:pt x="1170051" y="500649"/>
                      <a:pt x="1170051" y="491361"/>
                    </a:cubicBezTo>
                    <a:cubicBezTo>
                      <a:pt x="1170051" y="472784"/>
                      <a:pt x="1167909" y="454923"/>
                      <a:pt x="1162195" y="437061"/>
                    </a:cubicBezTo>
                    <a:cubicBezTo>
                      <a:pt x="1159339" y="429916"/>
                      <a:pt x="1156482" y="422772"/>
                      <a:pt x="1153625" y="415627"/>
                    </a:cubicBezTo>
                    <a:cubicBezTo>
                      <a:pt x="1151483" y="411340"/>
                      <a:pt x="1148626" y="407053"/>
                      <a:pt x="1146483" y="402766"/>
                    </a:cubicBezTo>
                    <a:cubicBezTo>
                      <a:pt x="1136485" y="387048"/>
                      <a:pt x="1125058" y="372759"/>
                      <a:pt x="1111488" y="360613"/>
                    </a:cubicBezTo>
                    <a:cubicBezTo>
                      <a:pt x="1112203" y="355611"/>
                      <a:pt x="1112203" y="350610"/>
                      <a:pt x="1112203" y="345609"/>
                    </a:cubicBezTo>
                    <a:cubicBezTo>
                      <a:pt x="1112203" y="236295"/>
                      <a:pt x="1023644" y="147700"/>
                      <a:pt x="914375" y="147700"/>
                    </a:cubicBezTo>
                    <a:cubicBezTo>
                      <a:pt x="910089" y="147700"/>
                      <a:pt x="905804" y="147700"/>
                      <a:pt x="900805" y="147700"/>
                    </a:cubicBezTo>
                    <a:cubicBezTo>
                      <a:pt x="873666" y="89114"/>
                      <a:pt x="814389" y="50533"/>
                      <a:pt x="747970" y="50533"/>
                    </a:cubicBezTo>
                    <a:cubicBezTo>
                      <a:pt x="712261" y="50533"/>
                      <a:pt x="677981" y="61250"/>
                      <a:pt x="649413" y="81969"/>
                    </a:cubicBezTo>
                    <a:cubicBezTo>
                      <a:pt x="647985" y="80540"/>
                      <a:pt x="645842" y="79111"/>
                      <a:pt x="643700" y="77682"/>
                    </a:cubicBezTo>
                    <a:cubicBezTo>
                      <a:pt x="633701" y="70538"/>
                      <a:pt x="623703" y="63393"/>
                      <a:pt x="612990" y="58392"/>
                    </a:cubicBezTo>
                    <a:cubicBezTo>
                      <a:pt x="579424" y="40530"/>
                      <a:pt x="540858" y="31242"/>
                      <a:pt x="503006" y="31242"/>
                    </a:cubicBezTo>
                    <a:close/>
                    <a:moveTo>
                      <a:pt x="502956" y="0"/>
                    </a:moveTo>
                    <a:cubicBezTo>
                      <a:pt x="545822" y="0"/>
                      <a:pt x="589403" y="10717"/>
                      <a:pt x="627268" y="30722"/>
                    </a:cubicBezTo>
                    <a:cubicBezTo>
                      <a:pt x="635126" y="34294"/>
                      <a:pt x="642985" y="39295"/>
                      <a:pt x="650844" y="44297"/>
                    </a:cubicBezTo>
                    <a:cubicBezTo>
                      <a:pt x="680136" y="27864"/>
                      <a:pt x="713714" y="19290"/>
                      <a:pt x="748007" y="19290"/>
                    </a:cubicBezTo>
                    <a:cubicBezTo>
                      <a:pt x="818736" y="19290"/>
                      <a:pt x="883750" y="56442"/>
                      <a:pt x="919472" y="115743"/>
                    </a:cubicBezTo>
                    <a:cubicBezTo>
                      <a:pt x="1043784" y="118601"/>
                      <a:pt x="1144519" y="220769"/>
                      <a:pt x="1144519" y="345800"/>
                    </a:cubicBezTo>
                    <a:cubicBezTo>
                      <a:pt x="1144519" y="346514"/>
                      <a:pt x="1144519" y="347229"/>
                      <a:pt x="1144519" y="348657"/>
                    </a:cubicBezTo>
                    <a:cubicBezTo>
                      <a:pt x="1155950" y="360089"/>
                      <a:pt x="1165238" y="372949"/>
                      <a:pt x="1173811" y="387238"/>
                    </a:cubicBezTo>
                    <a:cubicBezTo>
                      <a:pt x="1176669" y="392240"/>
                      <a:pt x="1179527" y="397241"/>
                      <a:pt x="1182384" y="402957"/>
                    </a:cubicBezTo>
                    <a:cubicBezTo>
                      <a:pt x="1185957" y="410816"/>
                      <a:pt x="1189529" y="419389"/>
                      <a:pt x="1192387" y="427963"/>
                    </a:cubicBezTo>
                    <a:cubicBezTo>
                      <a:pt x="1198816" y="447968"/>
                      <a:pt x="1201674" y="469402"/>
                      <a:pt x="1201674" y="491550"/>
                    </a:cubicBezTo>
                    <a:cubicBezTo>
                      <a:pt x="1201674" y="502982"/>
                      <a:pt x="1200960" y="512984"/>
                      <a:pt x="1199531" y="523701"/>
                    </a:cubicBezTo>
                    <a:cubicBezTo>
                      <a:pt x="1198102" y="533703"/>
                      <a:pt x="1195959" y="544420"/>
                      <a:pt x="1192387" y="553708"/>
                    </a:cubicBezTo>
                    <a:cubicBezTo>
                      <a:pt x="1191672" y="557281"/>
                      <a:pt x="1190243" y="560853"/>
                      <a:pt x="1189529" y="563711"/>
                    </a:cubicBezTo>
                    <a:cubicBezTo>
                      <a:pt x="1186671" y="570141"/>
                      <a:pt x="1184528" y="576571"/>
                      <a:pt x="1180955" y="582287"/>
                    </a:cubicBezTo>
                    <a:cubicBezTo>
                      <a:pt x="1179527" y="585145"/>
                      <a:pt x="1178098" y="588717"/>
                      <a:pt x="1176669" y="591575"/>
                    </a:cubicBezTo>
                    <a:cubicBezTo>
                      <a:pt x="1173097" y="597290"/>
                      <a:pt x="1169525" y="603006"/>
                      <a:pt x="1165952" y="608722"/>
                    </a:cubicBezTo>
                    <a:cubicBezTo>
                      <a:pt x="1163809" y="611580"/>
                      <a:pt x="1162380" y="614438"/>
                      <a:pt x="1160237" y="616581"/>
                    </a:cubicBezTo>
                    <a:cubicBezTo>
                      <a:pt x="1157379" y="620153"/>
                      <a:pt x="1154521" y="623726"/>
                      <a:pt x="1150949" y="628012"/>
                    </a:cubicBezTo>
                    <a:cubicBezTo>
                      <a:pt x="1145234" y="634442"/>
                      <a:pt x="1138804" y="640873"/>
                      <a:pt x="1132374" y="645874"/>
                    </a:cubicBezTo>
                    <a:cubicBezTo>
                      <a:pt x="1130231" y="648017"/>
                      <a:pt x="1127373" y="650161"/>
                      <a:pt x="1124515" y="652304"/>
                    </a:cubicBezTo>
                    <a:cubicBezTo>
                      <a:pt x="1110941" y="664450"/>
                      <a:pt x="1095223" y="673738"/>
                      <a:pt x="1078077" y="681597"/>
                    </a:cubicBezTo>
                    <a:cubicBezTo>
                      <a:pt x="1074505" y="683026"/>
                      <a:pt x="1070933" y="684455"/>
                      <a:pt x="1067360" y="685884"/>
                    </a:cubicBezTo>
                    <a:cubicBezTo>
                      <a:pt x="1043070" y="695172"/>
                      <a:pt x="1018064" y="700173"/>
                      <a:pt x="991630" y="700173"/>
                    </a:cubicBezTo>
                    <a:cubicBezTo>
                      <a:pt x="991630" y="700173"/>
                      <a:pt x="991630" y="700173"/>
                      <a:pt x="986629" y="700173"/>
                    </a:cubicBezTo>
                    <a:cubicBezTo>
                      <a:pt x="985914" y="700173"/>
                      <a:pt x="985200" y="700887"/>
                      <a:pt x="985200" y="700887"/>
                    </a:cubicBezTo>
                    <a:cubicBezTo>
                      <a:pt x="983771" y="701602"/>
                      <a:pt x="983057" y="702316"/>
                      <a:pt x="982342" y="703031"/>
                    </a:cubicBezTo>
                    <a:cubicBezTo>
                      <a:pt x="982342" y="703031"/>
                      <a:pt x="982342" y="703031"/>
                      <a:pt x="981628" y="703031"/>
                    </a:cubicBezTo>
                    <a:cubicBezTo>
                      <a:pt x="980199" y="704460"/>
                      <a:pt x="978770" y="705174"/>
                      <a:pt x="977341" y="705889"/>
                    </a:cubicBezTo>
                    <a:cubicBezTo>
                      <a:pt x="975912" y="706603"/>
                      <a:pt x="975198" y="707318"/>
                      <a:pt x="973769" y="708032"/>
                    </a:cubicBezTo>
                    <a:cubicBezTo>
                      <a:pt x="972340" y="708746"/>
                      <a:pt x="970197" y="710175"/>
                      <a:pt x="968768" y="710890"/>
                    </a:cubicBezTo>
                    <a:cubicBezTo>
                      <a:pt x="968054" y="711604"/>
                      <a:pt x="966625" y="712319"/>
                      <a:pt x="965196" y="713033"/>
                    </a:cubicBezTo>
                    <a:cubicBezTo>
                      <a:pt x="963767" y="713748"/>
                      <a:pt x="962338" y="714462"/>
                      <a:pt x="960909" y="715177"/>
                    </a:cubicBezTo>
                    <a:cubicBezTo>
                      <a:pt x="959480" y="715891"/>
                      <a:pt x="958052" y="716606"/>
                      <a:pt x="956623" y="716606"/>
                    </a:cubicBezTo>
                    <a:cubicBezTo>
                      <a:pt x="955194" y="718034"/>
                      <a:pt x="953765" y="718749"/>
                      <a:pt x="952336" y="718749"/>
                    </a:cubicBezTo>
                    <a:cubicBezTo>
                      <a:pt x="950907" y="719463"/>
                      <a:pt x="949478" y="720178"/>
                      <a:pt x="948049" y="720892"/>
                    </a:cubicBezTo>
                    <a:cubicBezTo>
                      <a:pt x="946620" y="721607"/>
                      <a:pt x="945192" y="722321"/>
                      <a:pt x="943048" y="723036"/>
                    </a:cubicBezTo>
                    <a:cubicBezTo>
                      <a:pt x="941620" y="723036"/>
                      <a:pt x="940191" y="723750"/>
                      <a:pt x="939476" y="724465"/>
                    </a:cubicBezTo>
                    <a:cubicBezTo>
                      <a:pt x="937333" y="724465"/>
                      <a:pt x="935904" y="725179"/>
                      <a:pt x="934475" y="725894"/>
                    </a:cubicBezTo>
                    <a:cubicBezTo>
                      <a:pt x="933046" y="726608"/>
                      <a:pt x="931617" y="726608"/>
                      <a:pt x="930189" y="727322"/>
                    </a:cubicBezTo>
                    <a:cubicBezTo>
                      <a:pt x="928045" y="727322"/>
                      <a:pt x="926616" y="728037"/>
                      <a:pt x="925188" y="728751"/>
                    </a:cubicBezTo>
                    <a:cubicBezTo>
                      <a:pt x="925188" y="728751"/>
                      <a:pt x="925188" y="728751"/>
                      <a:pt x="924473" y="728751"/>
                    </a:cubicBezTo>
                    <a:cubicBezTo>
                      <a:pt x="923044" y="728751"/>
                      <a:pt x="922330" y="729466"/>
                      <a:pt x="920901" y="729466"/>
                    </a:cubicBezTo>
                    <a:cubicBezTo>
                      <a:pt x="918758" y="730180"/>
                      <a:pt x="917329" y="730895"/>
                      <a:pt x="915900" y="730895"/>
                    </a:cubicBezTo>
                    <a:cubicBezTo>
                      <a:pt x="915900" y="730895"/>
                      <a:pt x="915900" y="730895"/>
                      <a:pt x="915186" y="730895"/>
                    </a:cubicBezTo>
                    <a:cubicBezTo>
                      <a:pt x="913757" y="731609"/>
                      <a:pt x="912328" y="731609"/>
                      <a:pt x="911613" y="731609"/>
                    </a:cubicBezTo>
                    <a:cubicBezTo>
                      <a:pt x="909470" y="732324"/>
                      <a:pt x="908041" y="732324"/>
                      <a:pt x="905898" y="733038"/>
                    </a:cubicBezTo>
                    <a:cubicBezTo>
                      <a:pt x="905898" y="733038"/>
                      <a:pt x="905898" y="733038"/>
                      <a:pt x="905183" y="733038"/>
                    </a:cubicBezTo>
                    <a:cubicBezTo>
                      <a:pt x="903754" y="733038"/>
                      <a:pt x="903040" y="733038"/>
                      <a:pt x="901611" y="733753"/>
                    </a:cubicBezTo>
                    <a:cubicBezTo>
                      <a:pt x="900182" y="733753"/>
                      <a:pt x="898039" y="733753"/>
                      <a:pt x="896610" y="734467"/>
                    </a:cubicBezTo>
                    <a:cubicBezTo>
                      <a:pt x="896610" y="734467"/>
                      <a:pt x="896610" y="734467"/>
                      <a:pt x="895181" y="734467"/>
                    </a:cubicBezTo>
                    <a:cubicBezTo>
                      <a:pt x="894467" y="734467"/>
                      <a:pt x="893038" y="734467"/>
                      <a:pt x="892323" y="734467"/>
                    </a:cubicBezTo>
                    <a:cubicBezTo>
                      <a:pt x="890180" y="735182"/>
                      <a:pt x="888037" y="735182"/>
                      <a:pt x="885894" y="735182"/>
                    </a:cubicBezTo>
                    <a:cubicBezTo>
                      <a:pt x="885894" y="735182"/>
                      <a:pt x="885894" y="735182"/>
                      <a:pt x="885179" y="735182"/>
                    </a:cubicBezTo>
                    <a:cubicBezTo>
                      <a:pt x="884465" y="735182"/>
                      <a:pt x="883036" y="735182"/>
                      <a:pt x="882321" y="735182"/>
                    </a:cubicBezTo>
                    <a:cubicBezTo>
                      <a:pt x="878749" y="735896"/>
                      <a:pt x="875177" y="735896"/>
                      <a:pt x="872319" y="735896"/>
                    </a:cubicBezTo>
                    <a:cubicBezTo>
                      <a:pt x="869461" y="735896"/>
                      <a:pt x="866604" y="735896"/>
                      <a:pt x="863032" y="735182"/>
                    </a:cubicBezTo>
                    <a:cubicBezTo>
                      <a:pt x="863032" y="735182"/>
                      <a:pt x="863032" y="735182"/>
                      <a:pt x="862317" y="735182"/>
                    </a:cubicBezTo>
                    <a:cubicBezTo>
                      <a:pt x="862317" y="735182"/>
                      <a:pt x="862317" y="735182"/>
                      <a:pt x="860174" y="735182"/>
                    </a:cubicBezTo>
                    <a:cubicBezTo>
                      <a:pt x="858030" y="735182"/>
                      <a:pt x="855887" y="735182"/>
                      <a:pt x="853744" y="734467"/>
                    </a:cubicBezTo>
                    <a:cubicBezTo>
                      <a:pt x="853744" y="734467"/>
                      <a:pt x="851601" y="734467"/>
                      <a:pt x="850886" y="734467"/>
                    </a:cubicBezTo>
                    <a:cubicBezTo>
                      <a:pt x="847314" y="734467"/>
                      <a:pt x="844456" y="733753"/>
                      <a:pt x="841598" y="733753"/>
                    </a:cubicBezTo>
                    <a:cubicBezTo>
                      <a:pt x="841598" y="733038"/>
                      <a:pt x="840884" y="733038"/>
                      <a:pt x="840170" y="733038"/>
                    </a:cubicBezTo>
                    <a:cubicBezTo>
                      <a:pt x="838026" y="733038"/>
                      <a:pt x="835169" y="732324"/>
                      <a:pt x="833025" y="731609"/>
                    </a:cubicBezTo>
                    <a:cubicBezTo>
                      <a:pt x="832311" y="731609"/>
                      <a:pt x="830882" y="731609"/>
                      <a:pt x="830167" y="730895"/>
                    </a:cubicBezTo>
                    <a:cubicBezTo>
                      <a:pt x="828024" y="730895"/>
                      <a:pt x="825881" y="730180"/>
                      <a:pt x="824452" y="730180"/>
                    </a:cubicBezTo>
                    <a:cubicBezTo>
                      <a:pt x="824452" y="730180"/>
                      <a:pt x="822309" y="729466"/>
                      <a:pt x="820880" y="728751"/>
                    </a:cubicBezTo>
                    <a:cubicBezTo>
                      <a:pt x="818022" y="728037"/>
                      <a:pt x="815879" y="727322"/>
                      <a:pt x="813021" y="726608"/>
                    </a:cubicBezTo>
                    <a:cubicBezTo>
                      <a:pt x="812307" y="726608"/>
                      <a:pt x="811592" y="725894"/>
                      <a:pt x="810163" y="725894"/>
                    </a:cubicBezTo>
                    <a:cubicBezTo>
                      <a:pt x="808020" y="725179"/>
                      <a:pt x="806591" y="724465"/>
                      <a:pt x="805162" y="724465"/>
                    </a:cubicBezTo>
                    <a:cubicBezTo>
                      <a:pt x="804448" y="723750"/>
                      <a:pt x="803733" y="723750"/>
                      <a:pt x="802304" y="723036"/>
                    </a:cubicBezTo>
                    <a:cubicBezTo>
                      <a:pt x="801590" y="723750"/>
                      <a:pt x="800876" y="724465"/>
                      <a:pt x="800161" y="724465"/>
                    </a:cubicBezTo>
                    <a:cubicBezTo>
                      <a:pt x="799447" y="725179"/>
                      <a:pt x="798732" y="725179"/>
                      <a:pt x="798018" y="725894"/>
                    </a:cubicBezTo>
                    <a:cubicBezTo>
                      <a:pt x="795875" y="727322"/>
                      <a:pt x="793731" y="728037"/>
                      <a:pt x="791588" y="729466"/>
                    </a:cubicBezTo>
                    <a:cubicBezTo>
                      <a:pt x="790873" y="730180"/>
                      <a:pt x="790159" y="730180"/>
                      <a:pt x="788730" y="730895"/>
                    </a:cubicBezTo>
                    <a:cubicBezTo>
                      <a:pt x="786587" y="731609"/>
                      <a:pt x="784444" y="733038"/>
                      <a:pt x="782300" y="733753"/>
                    </a:cubicBezTo>
                    <a:cubicBezTo>
                      <a:pt x="781586" y="734467"/>
                      <a:pt x="779443" y="735182"/>
                      <a:pt x="779443" y="735182"/>
                    </a:cubicBezTo>
                    <a:cubicBezTo>
                      <a:pt x="777299" y="735896"/>
                      <a:pt x="775156" y="737325"/>
                      <a:pt x="773727" y="738039"/>
                    </a:cubicBezTo>
                    <a:cubicBezTo>
                      <a:pt x="772298" y="738039"/>
                      <a:pt x="771584" y="738754"/>
                      <a:pt x="770155" y="738754"/>
                    </a:cubicBezTo>
                    <a:cubicBezTo>
                      <a:pt x="770155" y="738754"/>
                      <a:pt x="770155" y="738754"/>
                      <a:pt x="770155" y="739468"/>
                    </a:cubicBezTo>
                    <a:cubicBezTo>
                      <a:pt x="768726" y="739468"/>
                      <a:pt x="766583" y="740897"/>
                      <a:pt x="763725" y="741612"/>
                    </a:cubicBezTo>
                    <a:cubicBezTo>
                      <a:pt x="763011" y="741612"/>
                      <a:pt x="761582" y="742326"/>
                      <a:pt x="760867" y="742326"/>
                    </a:cubicBezTo>
                    <a:cubicBezTo>
                      <a:pt x="760867" y="742326"/>
                      <a:pt x="760867" y="742326"/>
                      <a:pt x="760153" y="743041"/>
                    </a:cubicBezTo>
                    <a:cubicBezTo>
                      <a:pt x="758010" y="743755"/>
                      <a:pt x="755866" y="743755"/>
                      <a:pt x="754437" y="744470"/>
                    </a:cubicBezTo>
                    <a:cubicBezTo>
                      <a:pt x="753008" y="745184"/>
                      <a:pt x="751579" y="745184"/>
                      <a:pt x="750151" y="745899"/>
                    </a:cubicBezTo>
                    <a:cubicBezTo>
                      <a:pt x="750151" y="745899"/>
                      <a:pt x="750151" y="745899"/>
                      <a:pt x="749436" y="745899"/>
                    </a:cubicBezTo>
                    <a:cubicBezTo>
                      <a:pt x="748007" y="746613"/>
                      <a:pt x="745864" y="747327"/>
                      <a:pt x="744435" y="747327"/>
                    </a:cubicBezTo>
                    <a:cubicBezTo>
                      <a:pt x="743006" y="748042"/>
                      <a:pt x="741577" y="748042"/>
                      <a:pt x="740149" y="748042"/>
                    </a:cubicBezTo>
                    <a:cubicBezTo>
                      <a:pt x="740149" y="748042"/>
                      <a:pt x="740149" y="748042"/>
                      <a:pt x="738720" y="748756"/>
                    </a:cubicBezTo>
                    <a:cubicBezTo>
                      <a:pt x="737291" y="748756"/>
                      <a:pt x="735862" y="749471"/>
                      <a:pt x="733719" y="749471"/>
                    </a:cubicBezTo>
                    <a:cubicBezTo>
                      <a:pt x="732290" y="750185"/>
                      <a:pt x="730861" y="750185"/>
                      <a:pt x="729432" y="750185"/>
                    </a:cubicBezTo>
                    <a:cubicBezTo>
                      <a:pt x="729432" y="750185"/>
                      <a:pt x="729432" y="750185"/>
                      <a:pt x="728003" y="750900"/>
                    </a:cubicBezTo>
                    <a:cubicBezTo>
                      <a:pt x="726574" y="750900"/>
                      <a:pt x="725145" y="751614"/>
                      <a:pt x="723717" y="751614"/>
                    </a:cubicBezTo>
                    <a:cubicBezTo>
                      <a:pt x="722288" y="751614"/>
                      <a:pt x="720145" y="752329"/>
                      <a:pt x="718716" y="752329"/>
                    </a:cubicBezTo>
                    <a:cubicBezTo>
                      <a:pt x="718716" y="752329"/>
                      <a:pt x="718716" y="752329"/>
                      <a:pt x="717287" y="752329"/>
                    </a:cubicBezTo>
                    <a:cubicBezTo>
                      <a:pt x="715858" y="752329"/>
                      <a:pt x="714429" y="753043"/>
                      <a:pt x="713000" y="753043"/>
                    </a:cubicBezTo>
                    <a:cubicBezTo>
                      <a:pt x="710857" y="753043"/>
                      <a:pt x="708713" y="753043"/>
                      <a:pt x="707285" y="753043"/>
                    </a:cubicBezTo>
                    <a:cubicBezTo>
                      <a:pt x="707285" y="753043"/>
                      <a:pt x="707285" y="753043"/>
                      <a:pt x="705856" y="753758"/>
                    </a:cubicBezTo>
                    <a:cubicBezTo>
                      <a:pt x="704427" y="753758"/>
                      <a:pt x="703712" y="753758"/>
                      <a:pt x="702283" y="753758"/>
                    </a:cubicBezTo>
                    <a:cubicBezTo>
                      <a:pt x="698711" y="753758"/>
                      <a:pt x="695139" y="753758"/>
                      <a:pt x="691567" y="753758"/>
                    </a:cubicBezTo>
                    <a:cubicBezTo>
                      <a:pt x="687995" y="753758"/>
                      <a:pt x="684423" y="753758"/>
                      <a:pt x="680851" y="753758"/>
                    </a:cubicBezTo>
                    <a:cubicBezTo>
                      <a:pt x="679422" y="753758"/>
                      <a:pt x="677993" y="753758"/>
                      <a:pt x="676564" y="753043"/>
                    </a:cubicBezTo>
                    <a:cubicBezTo>
                      <a:pt x="676564" y="753043"/>
                      <a:pt x="676564" y="753043"/>
                      <a:pt x="675135" y="753043"/>
                    </a:cubicBezTo>
                    <a:cubicBezTo>
                      <a:pt x="673706" y="753043"/>
                      <a:pt x="671563" y="753043"/>
                      <a:pt x="669420" y="753043"/>
                    </a:cubicBezTo>
                    <a:cubicBezTo>
                      <a:pt x="667991" y="752329"/>
                      <a:pt x="666562" y="752329"/>
                      <a:pt x="665133" y="752329"/>
                    </a:cubicBezTo>
                    <a:cubicBezTo>
                      <a:pt x="665133" y="752329"/>
                      <a:pt x="665133" y="752329"/>
                      <a:pt x="662989" y="752329"/>
                    </a:cubicBezTo>
                    <a:cubicBezTo>
                      <a:pt x="661561" y="751614"/>
                      <a:pt x="660132" y="751614"/>
                      <a:pt x="659417" y="751614"/>
                    </a:cubicBezTo>
                    <a:cubicBezTo>
                      <a:pt x="657274" y="750900"/>
                      <a:pt x="655131" y="750900"/>
                      <a:pt x="653702" y="750185"/>
                    </a:cubicBezTo>
                    <a:cubicBezTo>
                      <a:pt x="653702" y="750185"/>
                      <a:pt x="653702" y="750185"/>
                      <a:pt x="652273" y="750185"/>
                    </a:cubicBezTo>
                    <a:cubicBezTo>
                      <a:pt x="650844" y="750185"/>
                      <a:pt x="650130" y="750185"/>
                      <a:pt x="648701" y="749471"/>
                    </a:cubicBezTo>
                    <a:cubicBezTo>
                      <a:pt x="646557" y="749471"/>
                      <a:pt x="643700" y="748756"/>
                      <a:pt x="642271" y="748042"/>
                    </a:cubicBezTo>
                    <a:cubicBezTo>
                      <a:pt x="642271" y="748042"/>
                      <a:pt x="642271" y="748042"/>
                      <a:pt x="641557" y="748042"/>
                    </a:cubicBezTo>
                    <a:cubicBezTo>
                      <a:pt x="640128" y="748042"/>
                      <a:pt x="639413" y="747327"/>
                      <a:pt x="637984" y="747327"/>
                    </a:cubicBezTo>
                    <a:cubicBezTo>
                      <a:pt x="635841" y="746613"/>
                      <a:pt x="632983" y="745899"/>
                      <a:pt x="630840" y="745184"/>
                    </a:cubicBezTo>
                    <a:cubicBezTo>
                      <a:pt x="630126" y="745184"/>
                      <a:pt x="629411" y="744470"/>
                      <a:pt x="627982" y="744470"/>
                    </a:cubicBezTo>
                    <a:cubicBezTo>
                      <a:pt x="625124" y="743755"/>
                      <a:pt x="622267" y="742326"/>
                      <a:pt x="620838" y="741612"/>
                    </a:cubicBezTo>
                    <a:cubicBezTo>
                      <a:pt x="620123" y="741612"/>
                      <a:pt x="619409" y="741612"/>
                      <a:pt x="617980" y="740897"/>
                    </a:cubicBezTo>
                    <a:cubicBezTo>
                      <a:pt x="615837" y="740183"/>
                      <a:pt x="612979" y="739468"/>
                      <a:pt x="610121" y="738039"/>
                    </a:cubicBezTo>
                    <a:cubicBezTo>
                      <a:pt x="610121" y="738039"/>
                      <a:pt x="609407" y="737325"/>
                      <a:pt x="608692" y="737325"/>
                    </a:cubicBezTo>
                    <a:cubicBezTo>
                      <a:pt x="605835" y="736610"/>
                      <a:pt x="603691" y="735182"/>
                      <a:pt x="600834" y="733753"/>
                    </a:cubicBezTo>
                    <a:cubicBezTo>
                      <a:pt x="600119" y="733753"/>
                      <a:pt x="599405" y="733038"/>
                      <a:pt x="599405" y="733038"/>
                    </a:cubicBezTo>
                    <a:cubicBezTo>
                      <a:pt x="596547" y="731609"/>
                      <a:pt x="593689" y="730180"/>
                      <a:pt x="590832" y="728751"/>
                    </a:cubicBezTo>
                    <a:cubicBezTo>
                      <a:pt x="590832" y="728751"/>
                      <a:pt x="590832" y="728751"/>
                      <a:pt x="590117" y="728751"/>
                    </a:cubicBezTo>
                    <a:cubicBezTo>
                      <a:pt x="590117" y="728751"/>
                      <a:pt x="590117" y="728751"/>
                      <a:pt x="589403" y="728037"/>
                    </a:cubicBezTo>
                    <a:cubicBezTo>
                      <a:pt x="575828" y="738039"/>
                      <a:pt x="561540" y="746613"/>
                      <a:pt x="546536" y="753758"/>
                    </a:cubicBezTo>
                    <a:cubicBezTo>
                      <a:pt x="545822" y="754472"/>
                      <a:pt x="545108" y="754472"/>
                      <a:pt x="544393" y="755187"/>
                    </a:cubicBezTo>
                    <a:cubicBezTo>
                      <a:pt x="540821" y="756615"/>
                      <a:pt x="537249" y="758044"/>
                      <a:pt x="534391" y="759473"/>
                    </a:cubicBezTo>
                    <a:cubicBezTo>
                      <a:pt x="533677" y="759473"/>
                      <a:pt x="530819" y="760902"/>
                      <a:pt x="530819" y="760902"/>
                    </a:cubicBezTo>
                    <a:cubicBezTo>
                      <a:pt x="527961" y="761617"/>
                      <a:pt x="525104" y="763046"/>
                      <a:pt x="522246" y="763760"/>
                    </a:cubicBezTo>
                    <a:cubicBezTo>
                      <a:pt x="520817" y="764475"/>
                      <a:pt x="519388" y="765189"/>
                      <a:pt x="517959" y="765189"/>
                    </a:cubicBezTo>
                    <a:cubicBezTo>
                      <a:pt x="515101" y="766618"/>
                      <a:pt x="512244" y="767332"/>
                      <a:pt x="509386" y="768047"/>
                    </a:cubicBezTo>
                    <a:cubicBezTo>
                      <a:pt x="507957" y="768761"/>
                      <a:pt x="505814" y="768761"/>
                      <a:pt x="504385" y="769476"/>
                    </a:cubicBezTo>
                    <a:cubicBezTo>
                      <a:pt x="502241" y="770190"/>
                      <a:pt x="499384" y="770905"/>
                      <a:pt x="495812" y="771619"/>
                    </a:cubicBezTo>
                    <a:cubicBezTo>
                      <a:pt x="494383" y="772334"/>
                      <a:pt x="492954" y="772334"/>
                      <a:pt x="491525" y="773048"/>
                    </a:cubicBezTo>
                    <a:cubicBezTo>
                      <a:pt x="488667" y="773048"/>
                      <a:pt x="485810" y="773763"/>
                      <a:pt x="482952" y="774477"/>
                    </a:cubicBezTo>
                    <a:cubicBezTo>
                      <a:pt x="482952" y="774477"/>
                      <a:pt x="482952" y="774477"/>
                      <a:pt x="482237" y="774477"/>
                    </a:cubicBezTo>
                    <a:cubicBezTo>
                      <a:pt x="480808" y="775191"/>
                      <a:pt x="479379" y="775191"/>
                      <a:pt x="477951" y="775191"/>
                    </a:cubicBezTo>
                    <a:cubicBezTo>
                      <a:pt x="474379" y="775906"/>
                      <a:pt x="471521" y="775906"/>
                      <a:pt x="469377" y="776620"/>
                    </a:cubicBezTo>
                    <a:cubicBezTo>
                      <a:pt x="469377" y="776620"/>
                      <a:pt x="469377" y="776620"/>
                      <a:pt x="467948" y="776620"/>
                    </a:cubicBezTo>
                    <a:cubicBezTo>
                      <a:pt x="466520" y="776620"/>
                      <a:pt x="465091" y="777335"/>
                      <a:pt x="463662" y="777335"/>
                    </a:cubicBezTo>
                    <a:cubicBezTo>
                      <a:pt x="460804" y="777335"/>
                      <a:pt x="457946" y="778049"/>
                      <a:pt x="454374" y="778049"/>
                    </a:cubicBezTo>
                    <a:cubicBezTo>
                      <a:pt x="454374" y="778049"/>
                      <a:pt x="454374" y="778049"/>
                      <a:pt x="453660" y="778049"/>
                    </a:cubicBezTo>
                    <a:cubicBezTo>
                      <a:pt x="452945" y="778049"/>
                      <a:pt x="451516" y="778049"/>
                      <a:pt x="450088" y="778049"/>
                    </a:cubicBezTo>
                    <a:cubicBezTo>
                      <a:pt x="445087" y="778764"/>
                      <a:pt x="440800" y="778764"/>
                      <a:pt x="436513" y="778764"/>
                    </a:cubicBezTo>
                    <a:cubicBezTo>
                      <a:pt x="432227" y="778764"/>
                      <a:pt x="428654" y="778764"/>
                      <a:pt x="424368" y="778049"/>
                    </a:cubicBezTo>
                    <a:cubicBezTo>
                      <a:pt x="424368" y="778049"/>
                      <a:pt x="424368" y="778049"/>
                      <a:pt x="422225" y="778049"/>
                    </a:cubicBezTo>
                    <a:cubicBezTo>
                      <a:pt x="422225" y="778049"/>
                      <a:pt x="422225" y="778049"/>
                      <a:pt x="421510" y="778049"/>
                    </a:cubicBezTo>
                    <a:cubicBezTo>
                      <a:pt x="417938" y="778049"/>
                      <a:pt x="414366" y="778049"/>
                      <a:pt x="410079" y="777335"/>
                    </a:cubicBezTo>
                    <a:cubicBezTo>
                      <a:pt x="410079" y="777335"/>
                      <a:pt x="410079" y="777335"/>
                      <a:pt x="408650" y="777335"/>
                    </a:cubicBezTo>
                    <a:cubicBezTo>
                      <a:pt x="405078" y="776620"/>
                      <a:pt x="401506" y="776620"/>
                      <a:pt x="398648" y="775906"/>
                    </a:cubicBezTo>
                    <a:cubicBezTo>
                      <a:pt x="398648" y="775906"/>
                      <a:pt x="398648" y="775906"/>
                      <a:pt x="396505" y="775906"/>
                    </a:cubicBezTo>
                    <a:cubicBezTo>
                      <a:pt x="392933" y="775191"/>
                      <a:pt x="388646" y="774477"/>
                      <a:pt x="385074" y="773763"/>
                    </a:cubicBezTo>
                    <a:cubicBezTo>
                      <a:pt x="385074" y="773763"/>
                      <a:pt x="385074" y="773763"/>
                      <a:pt x="382931" y="773048"/>
                    </a:cubicBezTo>
                    <a:cubicBezTo>
                      <a:pt x="378644" y="772334"/>
                      <a:pt x="375786" y="771619"/>
                      <a:pt x="372214" y="770905"/>
                    </a:cubicBezTo>
                    <a:cubicBezTo>
                      <a:pt x="372214" y="770905"/>
                      <a:pt x="372214" y="770905"/>
                      <a:pt x="371500" y="770905"/>
                    </a:cubicBezTo>
                    <a:cubicBezTo>
                      <a:pt x="371500" y="770905"/>
                      <a:pt x="371500" y="770905"/>
                      <a:pt x="371500" y="770190"/>
                    </a:cubicBezTo>
                    <a:cubicBezTo>
                      <a:pt x="367928" y="769476"/>
                      <a:pt x="364355" y="768761"/>
                      <a:pt x="360783" y="767332"/>
                    </a:cubicBezTo>
                    <a:cubicBezTo>
                      <a:pt x="360783" y="767332"/>
                      <a:pt x="360783" y="767332"/>
                      <a:pt x="358640" y="766618"/>
                    </a:cubicBezTo>
                    <a:cubicBezTo>
                      <a:pt x="358640" y="766618"/>
                      <a:pt x="358640" y="766618"/>
                      <a:pt x="357925" y="766618"/>
                    </a:cubicBezTo>
                    <a:cubicBezTo>
                      <a:pt x="354353" y="765189"/>
                      <a:pt x="350781" y="764475"/>
                      <a:pt x="347923" y="763046"/>
                    </a:cubicBezTo>
                    <a:cubicBezTo>
                      <a:pt x="347209" y="763046"/>
                      <a:pt x="346494" y="762331"/>
                      <a:pt x="345780" y="762331"/>
                    </a:cubicBezTo>
                    <a:cubicBezTo>
                      <a:pt x="342922" y="761617"/>
                      <a:pt x="340064" y="760188"/>
                      <a:pt x="337207" y="758759"/>
                    </a:cubicBezTo>
                    <a:cubicBezTo>
                      <a:pt x="337207" y="758759"/>
                      <a:pt x="337207" y="758759"/>
                      <a:pt x="335063" y="758044"/>
                    </a:cubicBezTo>
                    <a:cubicBezTo>
                      <a:pt x="331491" y="756615"/>
                      <a:pt x="328634" y="755187"/>
                      <a:pt x="325061" y="753758"/>
                    </a:cubicBezTo>
                    <a:cubicBezTo>
                      <a:pt x="325061" y="753758"/>
                      <a:pt x="325061" y="753758"/>
                      <a:pt x="322918" y="752329"/>
                    </a:cubicBezTo>
                    <a:cubicBezTo>
                      <a:pt x="319346" y="750900"/>
                      <a:pt x="316488" y="749471"/>
                      <a:pt x="314345" y="748042"/>
                    </a:cubicBezTo>
                    <a:cubicBezTo>
                      <a:pt x="313630" y="748042"/>
                      <a:pt x="312916" y="747327"/>
                      <a:pt x="312201" y="747327"/>
                    </a:cubicBezTo>
                    <a:cubicBezTo>
                      <a:pt x="309344" y="745899"/>
                      <a:pt x="306486" y="743755"/>
                      <a:pt x="303628" y="742326"/>
                    </a:cubicBezTo>
                    <a:cubicBezTo>
                      <a:pt x="302914" y="741612"/>
                      <a:pt x="301485" y="740897"/>
                      <a:pt x="300770" y="740183"/>
                    </a:cubicBezTo>
                    <a:cubicBezTo>
                      <a:pt x="297913" y="738754"/>
                      <a:pt x="295055" y="736610"/>
                      <a:pt x="292197" y="735182"/>
                    </a:cubicBezTo>
                    <a:cubicBezTo>
                      <a:pt x="291483" y="734467"/>
                      <a:pt x="290054" y="733753"/>
                      <a:pt x="290054" y="733038"/>
                    </a:cubicBezTo>
                    <a:cubicBezTo>
                      <a:pt x="287911" y="731609"/>
                      <a:pt x="285053" y="730180"/>
                      <a:pt x="282910" y="728751"/>
                    </a:cubicBezTo>
                    <a:cubicBezTo>
                      <a:pt x="282910" y="728751"/>
                      <a:pt x="281481" y="727322"/>
                      <a:pt x="280766" y="726608"/>
                    </a:cubicBezTo>
                    <a:cubicBezTo>
                      <a:pt x="277909" y="724465"/>
                      <a:pt x="275051" y="722321"/>
                      <a:pt x="272907" y="720178"/>
                    </a:cubicBezTo>
                    <a:cubicBezTo>
                      <a:pt x="272193" y="720178"/>
                      <a:pt x="270050" y="718034"/>
                      <a:pt x="270050" y="718034"/>
                    </a:cubicBezTo>
                    <a:cubicBezTo>
                      <a:pt x="267907" y="716606"/>
                      <a:pt x="265763" y="714462"/>
                      <a:pt x="263620" y="713033"/>
                    </a:cubicBezTo>
                    <a:cubicBezTo>
                      <a:pt x="263620" y="712319"/>
                      <a:pt x="262191" y="711604"/>
                      <a:pt x="262191" y="710890"/>
                    </a:cubicBezTo>
                    <a:cubicBezTo>
                      <a:pt x="259333" y="708746"/>
                      <a:pt x="257190" y="706603"/>
                      <a:pt x="254332" y="704460"/>
                    </a:cubicBezTo>
                    <a:cubicBezTo>
                      <a:pt x="253618" y="703031"/>
                      <a:pt x="252903" y="702316"/>
                      <a:pt x="252189" y="701602"/>
                    </a:cubicBezTo>
                    <a:cubicBezTo>
                      <a:pt x="249331" y="699458"/>
                      <a:pt x="247188" y="696601"/>
                      <a:pt x="245044" y="694457"/>
                    </a:cubicBezTo>
                    <a:cubicBezTo>
                      <a:pt x="245044" y="693743"/>
                      <a:pt x="243616" y="693028"/>
                      <a:pt x="243616" y="692314"/>
                    </a:cubicBezTo>
                    <a:cubicBezTo>
                      <a:pt x="241472" y="690170"/>
                      <a:pt x="240044" y="688027"/>
                      <a:pt x="237900" y="686598"/>
                    </a:cubicBezTo>
                    <a:cubicBezTo>
                      <a:pt x="237900" y="686598"/>
                      <a:pt x="236471" y="684455"/>
                      <a:pt x="235757" y="683740"/>
                    </a:cubicBezTo>
                    <a:cubicBezTo>
                      <a:pt x="235042" y="683026"/>
                      <a:pt x="235042" y="682311"/>
                      <a:pt x="234328" y="681597"/>
                    </a:cubicBezTo>
                    <a:cubicBezTo>
                      <a:pt x="232899" y="680882"/>
                      <a:pt x="232185" y="680882"/>
                      <a:pt x="230756" y="680168"/>
                    </a:cubicBezTo>
                    <a:cubicBezTo>
                      <a:pt x="228613" y="679454"/>
                      <a:pt x="227184" y="678739"/>
                      <a:pt x="225040" y="677310"/>
                    </a:cubicBezTo>
                    <a:cubicBezTo>
                      <a:pt x="225040" y="677310"/>
                      <a:pt x="225040" y="677310"/>
                      <a:pt x="224326" y="677310"/>
                    </a:cubicBezTo>
                    <a:cubicBezTo>
                      <a:pt x="222897" y="676596"/>
                      <a:pt x="222183" y="676596"/>
                      <a:pt x="220754" y="675881"/>
                    </a:cubicBezTo>
                    <a:cubicBezTo>
                      <a:pt x="218610" y="674452"/>
                      <a:pt x="216467" y="673738"/>
                      <a:pt x="214324" y="672309"/>
                    </a:cubicBezTo>
                    <a:cubicBezTo>
                      <a:pt x="214324" y="672309"/>
                      <a:pt x="214324" y="672309"/>
                      <a:pt x="213609" y="672309"/>
                    </a:cubicBezTo>
                    <a:cubicBezTo>
                      <a:pt x="212895" y="671594"/>
                      <a:pt x="212181" y="671594"/>
                      <a:pt x="211466" y="670880"/>
                    </a:cubicBezTo>
                    <a:cubicBezTo>
                      <a:pt x="208608" y="669451"/>
                      <a:pt x="205750" y="667308"/>
                      <a:pt x="202178" y="665879"/>
                    </a:cubicBezTo>
                    <a:cubicBezTo>
                      <a:pt x="201464" y="665164"/>
                      <a:pt x="200750" y="664450"/>
                      <a:pt x="200035" y="664450"/>
                    </a:cubicBezTo>
                    <a:cubicBezTo>
                      <a:pt x="200035" y="664450"/>
                      <a:pt x="200035" y="664450"/>
                      <a:pt x="199321" y="663735"/>
                    </a:cubicBezTo>
                    <a:cubicBezTo>
                      <a:pt x="197177" y="662306"/>
                      <a:pt x="195034" y="660878"/>
                      <a:pt x="193605" y="660163"/>
                    </a:cubicBezTo>
                    <a:cubicBezTo>
                      <a:pt x="192176" y="659449"/>
                      <a:pt x="191462" y="658734"/>
                      <a:pt x="190033" y="658020"/>
                    </a:cubicBezTo>
                    <a:cubicBezTo>
                      <a:pt x="187890" y="656591"/>
                      <a:pt x="186461" y="655162"/>
                      <a:pt x="184317" y="653733"/>
                    </a:cubicBezTo>
                    <a:cubicBezTo>
                      <a:pt x="183603" y="653018"/>
                      <a:pt x="182174" y="652304"/>
                      <a:pt x="181460" y="651590"/>
                    </a:cubicBezTo>
                    <a:cubicBezTo>
                      <a:pt x="179316" y="650161"/>
                      <a:pt x="177888" y="648732"/>
                      <a:pt x="175744" y="647303"/>
                    </a:cubicBezTo>
                    <a:cubicBezTo>
                      <a:pt x="175744" y="647303"/>
                      <a:pt x="175744" y="647303"/>
                      <a:pt x="175030" y="646588"/>
                    </a:cubicBezTo>
                    <a:cubicBezTo>
                      <a:pt x="174315" y="645874"/>
                      <a:pt x="173601" y="645159"/>
                      <a:pt x="172887" y="645159"/>
                    </a:cubicBezTo>
                    <a:cubicBezTo>
                      <a:pt x="170029" y="642302"/>
                      <a:pt x="167171" y="640158"/>
                      <a:pt x="165028" y="638015"/>
                    </a:cubicBezTo>
                    <a:cubicBezTo>
                      <a:pt x="164313" y="637300"/>
                      <a:pt x="163599" y="637300"/>
                      <a:pt x="163599" y="636586"/>
                    </a:cubicBezTo>
                    <a:cubicBezTo>
                      <a:pt x="160741" y="634442"/>
                      <a:pt x="159312" y="632299"/>
                      <a:pt x="157169" y="630870"/>
                    </a:cubicBezTo>
                    <a:cubicBezTo>
                      <a:pt x="156454" y="630156"/>
                      <a:pt x="155740" y="629441"/>
                      <a:pt x="155025" y="628727"/>
                    </a:cubicBezTo>
                    <a:cubicBezTo>
                      <a:pt x="155025" y="628727"/>
                      <a:pt x="155025" y="628727"/>
                      <a:pt x="154311" y="628012"/>
                    </a:cubicBezTo>
                    <a:cubicBezTo>
                      <a:pt x="152882" y="626583"/>
                      <a:pt x="151453" y="624440"/>
                      <a:pt x="150025" y="623011"/>
                    </a:cubicBezTo>
                    <a:cubicBezTo>
                      <a:pt x="148596" y="622297"/>
                      <a:pt x="147881" y="620868"/>
                      <a:pt x="147167" y="620153"/>
                    </a:cubicBezTo>
                    <a:cubicBezTo>
                      <a:pt x="145738" y="618724"/>
                      <a:pt x="144309" y="616581"/>
                      <a:pt x="142166" y="615152"/>
                    </a:cubicBezTo>
                    <a:cubicBezTo>
                      <a:pt x="142166" y="615152"/>
                      <a:pt x="142166" y="615152"/>
                      <a:pt x="142166" y="614438"/>
                    </a:cubicBezTo>
                    <a:cubicBezTo>
                      <a:pt x="141451" y="613723"/>
                      <a:pt x="140737" y="613009"/>
                      <a:pt x="140022" y="612294"/>
                    </a:cubicBezTo>
                    <a:cubicBezTo>
                      <a:pt x="137879" y="609436"/>
                      <a:pt x="136450" y="607293"/>
                      <a:pt x="134307" y="605150"/>
                    </a:cubicBezTo>
                    <a:cubicBezTo>
                      <a:pt x="134307" y="604435"/>
                      <a:pt x="133593" y="604435"/>
                      <a:pt x="133593" y="603721"/>
                    </a:cubicBezTo>
                    <a:cubicBezTo>
                      <a:pt x="131449" y="600863"/>
                      <a:pt x="129306" y="598719"/>
                      <a:pt x="127163" y="595147"/>
                    </a:cubicBezTo>
                    <a:cubicBezTo>
                      <a:pt x="127163" y="594433"/>
                      <a:pt x="125734" y="592289"/>
                      <a:pt x="125734" y="592289"/>
                    </a:cubicBezTo>
                    <a:cubicBezTo>
                      <a:pt x="124305" y="590146"/>
                      <a:pt x="122876" y="588002"/>
                      <a:pt x="121447" y="586574"/>
                    </a:cubicBezTo>
                    <a:cubicBezTo>
                      <a:pt x="120733" y="585145"/>
                      <a:pt x="120018" y="584430"/>
                      <a:pt x="119304" y="583001"/>
                    </a:cubicBezTo>
                    <a:cubicBezTo>
                      <a:pt x="118589" y="580858"/>
                      <a:pt x="117160" y="578714"/>
                      <a:pt x="115731" y="576571"/>
                    </a:cubicBezTo>
                    <a:cubicBezTo>
                      <a:pt x="115017" y="575142"/>
                      <a:pt x="114303" y="574428"/>
                      <a:pt x="114303" y="573713"/>
                    </a:cubicBezTo>
                    <a:cubicBezTo>
                      <a:pt x="112874" y="571570"/>
                      <a:pt x="111445" y="568712"/>
                      <a:pt x="110016" y="565854"/>
                    </a:cubicBezTo>
                    <a:cubicBezTo>
                      <a:pt x="110016" y="565854"/>
                      <a:pt x="109302" y="564425"/>
                      <a:pt x="109302" y="563711"/>
                    </a:cubicBezTo>
                    <a:cubicBezTo>
                      <a:pt x="107873" y="560853"/>
                      <a:pt x="106444" y="557281"/>
                      <a:pt x="105015" y="554423"/>
                    </a:cubicBezTo>
                    <a:cubicBezTo>
                      <a:pt x="104301" y="553708"/>
                      <a:pt x="103586" y="551565"/>
                      <a:pt x="103586" y="551565"/>
                    </a:cubicBezTo>
                    <a:cubicBezTo>
                      <a:pt x="102872" y="548707"/>
                      <a:pt x="101443" y="546564"/>
                      <a:pt x="100728" y="544420"/>
                    </a:cubicBezTo>
                    <a:cubicBezTo>
                      <a:pt x="100014" y="542991"/>
                      <a:pt x="100014" y="541562"/>
                      <a:pt x="99300" y="540848"/>
                    </a:cubicBezTo>
                    <a:cubicBezTo>
                      <a:pt x="98585" y="538705"/>
                      <a:pt x="97871" y="535847"/>
                      <a:pt x="97156" y="533703"/>
                    </a:cubicBezTo>
                    <a:cubicBezTo>
                      <a:pt x="96442" y="532274"/>
                      <a:pt x="96442" y="530846"/>
                      <a:pt x="95727" y="530131"/>
                    </a:cubicBezTo>
                    <a:cubicBezTo>
                      <a:pt x="95013" y="527988"/>
                      <a:pt x="94299" y="525130"/>
                      <a:pt x="93584" y="522272"/>
                    </a:cubicBezTo>
                    <a:cubicBezTo>
                      <a:pt x="93584" y="522272"/>
                      <a:pt x="92870" y="520129"/>
                      <a:pt x="92870" y="519414"/>
                    </a:cubicBezTo>
                    <a:cubicBezTo>
                      <a:pt x="92155" y="515842"/>
                      <a:pt x="91441" y="512270"/>
                      <a:pt x="90726" y="508697"/>
                    </a:cubicBezTo>
                    <a:cubicBezTo>
                      <a:pt x="90012" y="507983"/>
                      <a:pt x="90012" y="507268"/>
                      <a:pt x="90012" y="506554"/>
                    </a:cubicBezTo>
                    <a:cubicBezTo>
                      <a:pt x="89297" y="503696"/>
                      <a:pt x="88583" y="500838"/>
                      <a:pt x="88583" y="497266"/>
                    </a:cubicBezTo>
                    <a:cubicBezTo>
                      <a:pt x="88583" y="495837"/>
                      <a:pt x="87869" y="493693"/>
                      <a:pt x="87869" y="493693"/>
                    </a:cubicBezTo>
                    <a:cubicBezTo>
                      <a:pt x="87869" y="490836"/>
                      <a:pt x="87154" y="488692"/>
                      <a:pt x="87154" y="485834"/>
                    </a:cubicBezTo>
                    <a:cubicBezTo>
                      <a:pt x="87154" y="484405"/>
                      <a:pt x="86440" y="483691"/>
                      <a:pt x="86440" y="482262"/>
                    </a:cubicBezTo>
                    <a:cubicBezTo>
                      <a:pt x="86440" y="479404"/>
                      <a:pt x="86440" y="477261"/>
                      <a:pt x="85725" y="474403"/>
                    </a:cubicBezTo>
                    <a:cubicBezTo>
                      <a:pt x="85725" y="474403"/>
                      <a:pt x="85725" y="474403"/>
                      <a:pt x="85725" y="473689"/>
                    </a:cubicBezTo>
                    <a:cubicBezTo>
                      <a:pt x="85725" y="472974"/>
                      <a:pt x="85725" y="471545"/>
                      <a:pt x="85725" y="470831"/>
                    </a:cubicBezTo>
                    <a:cubicBezTo>
                      <a:pt x="85725" y="466544"/>
                      <a:pt x="85725" y="462972"/>
                      <a:pt x="85725" y="459399"/>
                    </a:cubicBezTo>
                    <a:cubicBezTo>
                      <a:pt x="85725" y="433679"/>
                      <a:pt x="89297" y="407958"/>
                      <a:pt x="97871" y="383666"/>
                    </a:cubicBezTo>
                    <a:cubicBezTo>
                      <a:pt x="101443" y="371520"/>
                      <a:pt x="107158" y="359374"/>
                      <a:pt x="112874" y="347943"/>
                    </a:cubicBezTo>
                    <a:cubicBezTo>
                      <a:pt x="115731" y="342942"/>
                      <a:pt x="117875" y="339369"/>
                      <a:pt x="120018" y="335797"/>
                    </a:cubicBezTo>
                    <a:cubicBezTo>
                      <a:pt x="123590" y="329367"/>
                      <a:pt x="127877" y="323651"/>
                      <a:pt x="132164" y="317936"/>
                    </a:cubicBezTo>
                    <a:cubicBezTo>
                      <a:pt x="135021" y="313649"/>
                      <a:pt x="137879" y="310076"/>
                      <a:pt x="142166" y="305075"/>
                    </a:cubicBezTo>
                    <a:cubicBezTo>
                      <a:pt x="144309" y="302932"/>
                      <a:pt x="146452" y="300074"/>
                      <a:pt x="148596" y="297931"/>
                    </a:cubicBezTo>
                    <a:cubicBezTo>
                      <a:pt x="152168" y="293644"/>
                      <a:pt x="155740" y="290072"/>
                      <a:pt x="159312" y="286499"/>
                    </a:cubicBezTo>
                    <a:cubicBezTo>
                      <a:pt x="159312" y="286499"/>
                      <a:pt x="159312" y="286499"/>
                      <a:pt x="160027" y="286499"/>
                    </a:cubicBezTo>
                    <a:cubicBezTo>
                      <a:pt x="160027" y="286499"/>
                      <a:pt x="160027" y="286499"/>
                      <a:pt x="160741" y="285785"/>
                    </a:cubicBezTo>
                    <a:cubicBezTo>
                      <a:pt x="167171" y="279355"/>
                      <a:pt x="174315" y="273639"/>
                      <a:pt x="182174" y="267923"/>
                    </a:cubicBezTo>
                    <a:cubicBezTo>
                      <a:pt x="183603" y="266494"/>
                      <a:pt x="185032" y="265780"/>
                      <a:pt x="186461" y="264351"/>
                    </a:cubicBezTo>
                    <a:cubicBezTo>
                      <a:pt x="192891" y="260064"/>
                      <a:pt x="200035" y="255777"/>
                      <a:pt x="206465" y="251491"/>
                    </a:cubicBezTo>
                    <a:cubicBezTo>
                      <a:pt x="212895" y="247918"/>
                      <a:pt x="218610" y="245061"/>
                      <a:pt x="225040" y="242203"/>
                    </a:cubicBezTo>
                    <a:cubicBezTo>
                      <a:pt x="229327" y="240059"/>
                      <a:pt x="234328" y="237916"/>
                      <a:pt x="238615" y="236487"/>
                    </a:cubicBezTo>
                    <a:cubicBezTo>
                      <a:pt x="242901" y="193619"/>
                      <a:pt x="258619" y="152181"/>
                      <a:pt x="282910" y="115743"/>
                    </a:cubicBezTo>
                    <a:cubicBezTo>
                      <a:pt x="287911" y="108598"/>
                      <a:pt x="292912" y="102168"/>
                      <a:pt x="297913" y="95738"/>
                    </a:cubicBezTo>
                    <a:cubicBezTo>
                      <a:pt x="300770" y="92166"/>
                      <a:pt x="303628" y="89308"/>
                      <a:pt x="306486" y="85735"/>
                    </a:cubicBezTo>
                    <a:cubicBezTo>
                      <a:pt x="356497" y="31436"/>
                      <a:pt x="428654" y="0"/>
                      <a:pt x="50295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4" name="Arrow: Pentagon 23">
            <a:extLst>
              <a:ext uri="{FF2B5EF4-FFF2-40B4-BE49-F238E27FC236}">
                <a16:creationId xmlns:a16="http://schemas.microsoft.com/office/drawing/2014/main" id="{5C185972-E16C-4AA9-BED6-3AB65B92C705}"/>
              </a:ext>
            </a:extLst>
          </p:cNvPr>
          <p:cNvSpPr/>
          <p:nvPr/>
        </p:nvSpPr>
        <p:spPr>
          <a:xfrm rot="5400000">
            <a:off x="510841" y="4588591"/>
            <a:ext cx="1946134" cy="2402671"/>
          </a:xfrm>
          <a:prstGeom prst="homePlate">
            <a:avLst>
              <a:gd name="adj" fmla="val 16975"/>
            </a:avLst>
          </a:prstGeom>
          <a:solidFill>
            <a:srgbClr val="009C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600" dirty="0">
                <a:solidFill>
                  <a:srgbClr val="FFFFFF"/>
                </a:solidFill>
                <a:latin typeface="Trebuchet MS" panose="020B0603020202020204" pitchFamily="34" charset="0"/>
                <a:ea typeface="Meiryo UI" panose="020B0604030504040204" pitchFamily="50" charset="-128"/>
              </a:rPr>
              <a:t>サプライヤーへの</a:t>
            </a:r>
            <a:br>
              <a:rPr lang="en-US" altLang="ja-JP" sz="1600" dirty="0">
                <a:solidFill>
                  <a:srgbClr val="FFFFFF"/>
                </a:solidFill>
                <a:latin typeface="Trebuchet MS" panose="020B0603020202020204" pitchFamily="34" charset="0"/>
                <a:ea typeface="Meiryo UI" panose="020B0604030504040204" pitchFamily="50" charset="-128"/>
              </a:rPr>
            </a:br>
            <a:r>
              <a:rPr lang="ja-JP" altLang="en-US" sz="1600" dirty="0">
                <a:solidFill>
                  <a:srgbClr val="FFFFFF"/>
                </a:solidFill>
                <a:latin typeface="Trebuchet MS" panose="020B0603020202020204" pitchFamily="34" charset="0"/>
                <a:ea typeface="Meiryo UI" panose="020B0604030504040204" pitchFamily="50" charset="-128"/>
              </a:rPr>
              <a:t>働きかけ（依頼、要請、支援等）の検討</a:t>
            </a:r>
          </a:p>
        </p:txBody>
      </p:sp>
      <p:sp>
        <p:nvSpPr>
          <p:cNvPr id="44" name="Oval 43">
            <a:extLst>
              <a:ext uri="{FF2B5EF4-FFF2-40B4-BE49-F238E27FC236}">
                <a16:creationId xmlns:a16="http://schemas.microsoft.com/office/drawing/2014/main" id="{E9C18E28-2242-4501-8A5F-04A57385EEEC}"/>
              </a:ext>
            </a:extLst>
          </p:cNvPr>
          <p:cNvSpPr/>
          <p:nvPr/>
        </p:nvSpPr>
        <p:spPr>
          <a:xfrm>
            <a:off x="161925" y="4675928"/>
            <a:ext cx="298449" cy="298449"/>
          </a:xfrm>
          <a:prstGeom prst="ellipse">
            <a:avLst/>
          </a:prstGeom>
          <a:solidFill>
            <a:srgbClr val="009C89"/>
          </a:solidFill>
          <a:ln w="127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600" dirty="0">
                <a:latin typeface="Trebuchet MS" panose="020B0603020202020204" pitchFamily="34" charset="0"/>
                <a:ea typeface="Meiryo UI" panose="020B0604030504040204" pitchFamily="50" charset="-128"/>
              </a:rPr>
              <a:t>2</a:t>
            </a:r>
          </a:p>
        </p:txBody>
      </p:sp>
      <p:grpSp>
        <p:nvGrpSpPr>
          <p:cNvPr id="26" name="bcgIcons_PriceTag">
            <a:extLst>
              <a:ext uri="{FF2B5EF4-FFF2-40B4-BE49-F238E27FC236}">
                <a16:creationId xmlns:a16="http://schemas.microsoft.com/office/drawing/2014/main" id="{A72782C9-2050-459A-9111-D13AD9A45D9A}"/>
              </a:ext>
            </a:extLst>
          </p:cNvPr>
          <p:cNvGrpSpPr>
            <a:grpSpLocks noChangeAspect="1"/>
          </p:cNvGrpSpPr>
          <p:nvPr/>
        </p:nvGrpSpPr>
        <p:grpSpPr bwMode="auto">
          <a:xfrm>
            <a:off x="2999353" y="3009242"/>
            <a:ext cx="996998" cy="997922"/>
            <a:chOff x="1682" y="0"/>
            <a:chExt cx="4316" cy="4320"/>
          </a:xfrm>
        </p:grpSpPr>
        <p:sp>
          <p:nvSpPr>
            <p:cNvPr id="27" name="AutoShape 3">
              <a:extLst>
                <a:ext uri="{FF2B5EF4-FFF2-40B4-BE49-F238E27FC236}">
                  <a16:creationId xmlns:a16="http://schemas.microsoft.com/office/drawing/2014/main" id="{FDC917E2-81B8-4F26-8355-530B7BBBAB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
              <a:extLst>
                <a:ext uri="{FF2B5EF4-FFF2-40B4-BE49-F238E27FC236}">
                  <a16:creationId xmlns:a16="http://schemas.microsoft.com/office/drawing/2014/main" id="{3A0F720E-346B-4F15-9E5A-4F152F789C0B}"/>
                </a:ext>
              </a:extLst>
            </p:cNvPr>
            <p:cNvSpPr>
              <a:spLocks noEditPoints="1"/>
            </p:cNvSpPr>
            <p:nvPr/>
          </p:nvSpPr>
          <p:spPr bwMode="auto">
            <a:xfrm>
              <a:off x="2392" y="675"/>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a:extLst>
                <a:ext uri="{FF2B5EF4-FFF2-40B4-BE49-F238E27FC236}">
                  <a16:creationId xmlns:a16="http://schemas.microsoft.com/office/drawing/2014/main" id="{C252F694-EEBD-4410-A6A6-D852A5E6C023}"/>
                </a:ext>
              </a:extLst>
            </p:cNvPr>
            <p:cNvSpPr>
              <a:spLocks noEditPoints="1"/>
            </p:cNvSpPr>
            <p:nvPr/>
          </p:nvSpPr>
          <p:spPr bwMode="auto">
            <a:xfrm>
              <a:off x="2587" y="848"/>
              <a:ext cx="2527" cy="2600"/>
            </a:xfrm>
            <a:custGeom>
              <a:avLst/>
              <a:gdLst>
                <a:gd name="T0" fmla="*/ 1035 w 1349"/>
                <a:gd name="T1" fmla="*/ 0 h 1387"/>
                <a:gd name="T2" fmla="*/ 665 w 1349"/>
                <a:gd name="T3" fmla="*/ 115 h 1387"/>
                <a:gd name="T4" fmla="*/ 0 w 1349"/>
                <a:gd name="T5" fmla="*/ 833 h 1387"/>
                <a:gd name="T6" fmla="*/ 598 w 1349"/>
                <a:gd name="T7" fmla="*/ 1387 h 1387"/>
                <a:gd name="T8" fmla="*/ 1263 w 1349"/>
                <a:gd name="T9" fmla="*/ 669 h 1387"/>
                <a:gd name="T10" fmla="*/ 1349 w 1349"/>
                <a:gd name="T11" fmla="*/ 292 h 1387"/>
                <a:gd name="T12" fmla="*/ 1035 w 1349"/>
                <a:gd name="T13" fmla="*/ 0 h 1387"/>
                <a:gd name="T14" fmla="*/ 1141 w 1349"/>
                <a:gd name="T15" fmla="*/ 325 h 1387"/>
                <a:gd name="T16" fmla="*/ 1023 w 1349"/>
                <a:gd name="T17" fmla="*/ 329 h 1387"/>
                <a:gd name="T18" fmla="*/ 1018 w 1349"/>
                <a:gd name="T19" fmla="*/ 210 h 1387"/>
                <a:gd name="T20" fmla="*/ 1137 w 1349"/>
                <a:gd name="T21" fmla="*/ 206 h 1387"/>
                <a:gd name="T22" fmla="*/ 1141 w 1349"/>
                <a:gd name="T23" fmla="*/ 325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49" h="1387">
                  <a:moveTo>
                    <a:pt x="1035" y="0"/>
                  </a:moveTo>
                  <a:cubicBezTo>
                    <a:pt x="665" y="115"/>
                    <a:pt x="665" y="115"/>
                    <a:pt x="665" y="115"/>
                  </a:cubicBezTo>
                  <a:cubicBezTo>
                    <a:pt x="0" y="833"/>
                    <a:pt x="0" y="833"/>
                    <a:pt x="0" y="833"/>
                  </a:cubicBezTo>
                  <a:cubicBezTo>
                    <a:pt x="598" y="1387"/>
                    <a:pt x="598" y="1387"/>
                    <a:pt x="598" y="1387"/>
                  </a:cubicBezTo>
                  <a:cubicBezTo>
                    <a:pt x="1263" y="669"/>
                    <a:pt x="1263" y="669"/>
                    <a:pt x="1263" y="669"/>
                  </a:cubicBezTo>
                  <a:cubicBezTo>
                    <a:pt x="1349" y="292"/>
                    <a:pt x="1349" y="292"/>
                    <a:pt x="1349" y="292"/>
                  </a:cubicBezTo>
                  <a:lnTo>
                    <a:pt x="1035" y="0"/>
                  </a:lnTo>
                  <a:close/>
                  <a:moveTo>
                    <a:pt x="1141" y="325"/>
                  </a:moveTo>
                  <a:cubicBezTo>
                    <a:pt x="1110" y="359"/>
                    <a:pt x="1057" y="361"/>
                    <a:pt x="1023" y="329"/>
                  </a:cubicBezTo>
                  <a:cubicBezTo>
                    <a:pt x="989" y="298"/>
                    <a:pt x="987" y="244"/>
                    <a:pt x="1018" y="210"/>
                  </a:cubicBezTo>
                  <a:cubicBezTo>
                    <a:pt x="1050" y="176"/>
                    <a:pt x="1103" y="174"/>
                    <a:pt x="1137" y="206"/>
                  </a:cubicBezTo>
                  <a:cubicBezTo>
                    <a:pt x="1171" y="237"/>
                    <a:pt x="1173" y="290"/>
                    <a:pt x="1141" y="32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25301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73C385-5370-4BDB-901D-3379606CCF01}"/>
              </a:ext>
            </a:extLst>
          </p:cNvPr>
          <p:cNvGraphicFramePr>
            <a:graphicFrameLocks noChangeAspect="1"/>
          </p:cNvGraphicFramePr>
          <p:nvPr>
            <p:custDataLst>
              <p:tags r:id="rId1"/>
            </p:custDataLst>
            <p:extLst>
              <p:ext uri="{D42A27DB-BD31-4B8C-83A1-F6EECF244321}">
                <p14:modId xmlns:p14="http://schemas.microsoft.com/office/powerpoint/2010/main" val="76839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7D73C385-5370-4BDB-901D-3379606CC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0AE63-70D5-4B95-92C4-B451B3ADE406}"/>
              </a:ext>
            </a:extLst>
          </p:cNvPr>
          <p:cNvSpPr>
            <a:spLocks noGrp="1"/>
          </p:cNvSpPr>
          <p:nvPr>
            <p:ph type="title"/>
          </p:nvPr>
        </p:nvSpPr>
        <p:spPr/>
        <p:txBody>
          <a:bodyPr vert="horz"/>
          <a:lstStyle/>
          <a:p>
            <a:r>
              <a:rPr lang="ja-JP" altLang="en-US" dirty="0"/>
              <a:t>支援の実施スケジュールのイメージ </a:t>
            </a:r>
            <a:r>
              <a:rPr lang="en-US" altLang="ja-JP" dirty="0"/>
              <a:t>(</a:t>
            </a:r>
            <a:r>
              <a:rPr lang="ja-JP" altLang="en-US" dirty="0"/>
              <a:t>パターン</a:t>
            </a:r>
            <a:r>
              <a:rPr lang="en-US" altLang="ja-JP" dirty="0"/>
              <a:t>B</a:t>
            </a:r>
            <a:r>
              <a:rPr lang="ja-JP" altLang="en-US" dirty="0"/>
              <a:t>の場合</a:t>
            </a:r>
            <a:r>
              <a:rPr lang="en-US" altLang="ja-JP" dirty="0"/>
              <a:t>)</a:t>
            </a:r>
            <a:endParaRPr kumimoji="1" lang="en-US" dirty="0"/>
          </a:p>
        </p:txBody>
      </p:sp>
      <p:sp>
        <p:nvSpPr>
          <p:cNvPr id="3" name="Content Placeholder 2">
            <a:extLst>
              <a:ext uri="{FF2B5EF4-FFF2-40B4-BE49-F238E27FC236}">
                <a16:creationId xmlns:a16="http://schemas.microsoft.com/office/drawing/2014/main" id="{A09734AF-CB1E-44A4-B8F2-F1A5F58BCB85}"/>
              </a:ext>
            </a:extLst>
          </p:cNvPr>
          <p:cNvSpPr>
            <a:spLocks noGrp="1"/>
          </p:cNvSpPr>
          <p:nvPr>
            <p:ph sz="quarter" idx="13"/>
          </p:nvPr>
        </p:nvSpPr>
        <p:spPr>
          <a:xfrm>
            <a:off x="161925" y="1110920"/>
            <a:ext cx="10367963" cy="634941"/>
          </a:xfrm>
        </p:spPr>
        <p:txBody>
          <a:bodyPr/>
          <a:lstStyle/>
          <a:p>
            <a:r>
              <a:rPr lang="ja-JP" altLang="en-US" dirty="0"/>
              <a:t>約</a:t>
            </a:r>
            <a:r>
              <a:rPr lang="en-US" altLang="ja-JP" dirty="0"/>
              <a:t>6</a:t>
            </a:r>
            <a:r>
              <a:rPr lang="ja-JP" altLang="en-US" dirty="0"/>
              <a:t>カ月間にわたり対象企業の</a:t>
            </a:r>
            <a:r>
              <a:rPr lang="en-US" altLang="ja-JP" dirty="0"/>
              <a:t>CFP</a:t>
            </a:r>
            <a:r>
              <a:rPr lang="ja-JP" altLang="en-US" dirty="0"/>
              <a:t>に係る基準やサプライヤーへの働きかけを支援</a:t>
            </a:r>
          </a:p>
        </p:txBody>
      </p:sp>
      <p:sp>
        <p:nvSpPr>
          <p:cNvPr id="42" name="ee4pFootnotes">
            <a:extLst>
              <a:ext uri="{FF2B5EF4-FFF2-40B4-BE49-F238E27FC236}">
                <a16:creationId xmlns:a16="http://schemas.microsoft.com/office/drawing/2014/main" id="{4B5FC54E-85C3-420E-986F-486B378681A7}"/>
              </a:ext>
            </a:extLst>
          </p:cNvPr>
          <p:cNvSpPr>
            <a:spLocks noChangeArrowheads="1"/>
          </p:cNvSpPr>
          <p:nvPr/>
        </p:nvSpPr>
        <p:spPr bwMode="auto">
          <a:xfrm>
            <a:off x="319253" y="7232569"/>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solidFill>
                  <a:srgbClr val="7F7F7F">
                    <a:lumMod val="100000"/>
                  </a:srgbClr>
                </a:solidFill>
                <a:latin typeface="Trebuchet MS" panose="020B0603020202020204" pitchFamily="34" charset="0"/>
                <a:cs typeface="Arial" pitchFamily="34" charset="0"/>
              </a:rPr>
              <a:t>注</a:t>
            </a:r>
            <a:r>
              <a:rPr lang="en-US" sz="1000" dirty="0">
                <a:solidFill>
                  <a:srgbClr val="7F7F7F">
                    <a:lumMod val="100000"/>
                  </a:srgbClr>
                </a:solidFill>
                <a:latin typeface="Trebuchet MS" panose="020B0603020202020204" pitchFamily="34" charset="0"/>
                <a:cs typeface="Arial" pitchFamily="34" charset="0"/>
              </a:rPr>
              <a:t>: </a:t>
            </a:r>
            <a:r>
              <a:rPr lang="ja-JP" altLang="en-US" sz="1000" dirty="0">
                <a:solidFill>
                  <a:srgbClr val="7F7F7F">
                    <a:lumMod val="100000"/>
                  </a:srgbClr>
                </a:solidFill>
                <a:latin typeface="Trebuchet MS" panose="020B0603020202020204" pitchFamily="34" charset="0"/>
                <a:cs typeface="Arial" pitchFamily="34" charset="0"/>
              </a:rPr>
              <a:t>実際の進め方は、各社の検討状況や支援ニーズに応じて決定</a:t>
            </a:r>
            <a:endParaRPr lang="en-US" sz="1000" dirty="0">
              <a:solidFill>
                <a:srgbClr val="7F7F7F">
                  <a:lumMod val="100000"/>
                </a:srgbClr>
              </a:solidFill>
              <a:latin typeface="Trebuchet MS" panose="020B0603020202020204" pitchFamily="34" charset="0"/>
              <a:cs typeface="Arial" pitchFamily="34" charset="0"/>
            </a:endParaRPr>
          </a:p>
        </p:txBody>
      </p:sp>
      <p:sp>
        <p:nvSpPr>
          <p:cNvPr id="88" name="ee4pHeader1">
            <a:extLst>
              <a:ext uri="{FF2B5EF4-FFF2-40B4-BE49-F238E27FC236}">
                <a16:creationId xmlns:a16="http://schemas.microsoft.com/office/drawing/2014/main" id="{73862EC4-8122-477F-8439-0BEEFC0CC394}"/>
              </a:ext>
            </a:extLst>
          </p:cNvPr>
          <p:cNvSpPr txBox="1"/>
          <p:nvPr/>
        </p:nvSpPr>
        <p:spPr>
          <a:xfrm>
            <a:off x="3019046" y="2102346"/>
            <a:ext cx="633253"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7</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89" name="直線コネクタ 188">
            <a:extLst>
              <a:ext uri="{FF2B5EF4-FFF2-40B4-BE49-F238E27FC236}">
                <a16:creationId xmlns:a16="http://schemas.microsoft.com/office/drawing/2014/main" id="{35B54B77-3B2E-4363-B417-ED3B2220C154}"/>
              </a:ext>
            </a:extLst>
          </p:cNvPr>
          <p:cNvCxnSpPr/>
          <p:nvPr/>
        </p:nvCxnSpPr>
        <p:spPr>
          <a:xfrm>
            <a:off x="3019046" y="2417777"/>
            <a:ext cx="633253"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CC01FD89-8D38-4D21-A73E-6D5549696CBA}"/>
              </a:ext>
            </a:extLst>
          </p:cNvPr>
          <p:cNvGrpSpPr/>
          <p:nvPr/>
        </p:nvGrpSpPr>
        <p:grpSpPr>
          <a:xfrm>
            <a:off x="3718373" y="2102346"/>
            <a:ext cx="882604" cy="315431"/>
            <a:chOff x="3670748" y="2216646"/>
            <a:chExt cx="1052354" cy="315431"/>
          </a:xfrm>
        </p:grpSpPr>
        <p:sp>
          <p:nvSpPr>
            <p:cNvPr id="105" name="ee4pHeader1">
              <a:extLst>
                <a:ext uri="{FF2B5EF4-FFF2-40B4-BE49-F238E27FC236}">
                  <a16:creationId xmlns:a16="http://schemas.microsoft.com/office/drawing/2014/main" id="{87DAED40-6DB9-4228-A363-96EF0E0D0014}"/>
                </a:ext>
              </a:extLst>
            </p:cNvPr>
            <p:cNvSpPr txBox="1"/>
            <p:nvPr/>
          </p:nvSpPr>
          <p:spPr>
            <a:xfrm>
              <a:off x="3670748"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8</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06" name="直線コネクタ 190">
              <a:extLst>
                <a:ext uri="{FF2B5EF4-FFF2-40B4-BE49-F238E27FC236}">
                  <a16:creationId xmlns:a16="http://schemas.microsoft.com/office/drawing/2014/main" id="{FEE2B7EA-2C38-4FE0-B423-604D55C6142B}"/>
                </a:ext>
              </a:extLst>
            </p:cNvPr>
            <p:cNvCxnSpPr/>
            <p:nvPr/>
          </p:nvCxnSpPr>
          <p:spPr>
            <a:xfrm>
              <a:off x="3670748"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F3FED0CC-8D06-4DF4-80FF-065028D50779}"/>
              </a:ext>
            </a:extLst>
          </p:cNvPr>
          <p:cNvGrpSpPr/>
          <p:nvPr/>
        </p:nvGrpSpPr>
        <p:grpSpPr>
          <a:xfrm>
            <a:off x="4737479" y="2102346"/>
            <a:ext cx="882604" cy="315431"/>
            <a:chOff x="4783485" y="2216646"/>
            <a:chExt cx="1052354" cy="315431"/>
          </a:xfrm>
        </p:grpSpPr>
        <p:sp>
          <p:nvSpPr>
            <p:cNvPr id="108" name="ee4pHeader1">
              <a:extLst>
                <a:ext uri="{FF2B5EF4-FFF2-40B4-BE49-F238E27FC236}">
                  <a16:creationId xmlns:a16="http://schemas.microsoft.com/office/drawing/2014/main" id="{B0277B6C-5F29-4910-8331-0E6CE849189D}"/>
                </a:ext>
              </a:extLst>
            </p:cNvPr>
            <p:cNvSpPr txBox="1"/>
            <p:nvPr/>
          </p:nvSpPr>
          <p:spPr>
            <a:xfrm>
              <a:off x="4783485"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9</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1" name="直線コネクタ 192">
              <a:extLst>
                <a:ext uri="{FF2B5EF4-FFF2-40B4-BE49-F238E27FC236}">
                  <a16:creationId xmlns:a16="http://schemas.microsoft.com/office/drawing/2014/main" id="{D23975A5-E1EF-4394-8C54-4E84C7D31CB2}"/>
                </a:ext>
              </a:extLst>
            </p:cNvPr>
            <p:cNvCxnSpPr/>
            <p:nvPr/>
          </p:nvCxnSpPr>
          <p:spPr>
            <a:xfrm>
              <a:off x="4783485"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ABDDEACF-0233-438E-B209-156026C06021}"/>
              </a:ext>
            </a:extLst>
          </p:cNvPr>
          <p:cNvGrpSpPr/>
          <p:nvPr/>
        </p:nvGrpSpPr>
        <p:grpSpPr>
          <a:xfrm>
            <a:off x="5756585" y="2102346"/>
            <a:ext cx="882610" cy="315431"/>
            <a:chOff x="5896215" y="2216646"/>
            <a:chExt cx="1052361" cy="315431"/>
          </a:xfrm>
        </p:grpSpPr>
        <p:sp>
          <p:nvSpPr>
            <p:cNvPr id="114" name="ee4pHeader1">
              <a:extLst>
                <a:ext uri="{FF2B5EF4-FFF2-40B4-BE49-F238E27FC236}">
                  <a16:creationId xmlns:a16="http://schemas.microsoft.com/office/drawing/2014/main" id="{0E5E5600-59ED-409A-85E1-3BEF5DB8594B}"/>
                </a:ext>
              </a:extLst>
            </p:cNvPr>
            <p:cNvSpPr txBox="1"/>
            <p:nvPr/>
          </p:nvSpPr>
          <p:spPr>
            <a:xfrm>
              <a:off x="5896215"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0</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5" name="直線コネクタ 194">
              <a:extLst>
                <a:ext uri="{FF2B5EF4-FFF2-40B4-BE49-F238E27FC236}">
                  <a16:creationId xmlns:a16="http://schemas.microsoft.com/office/drawing/2014/main" id="{C31FAD38-6B6E-453E-84EA-8F15BB0F04FC}"/>
                </a:ext>
              </a:extLst>
            </p:cNvPr>
            <p:cNvCxnSpPr/>
            <p:nvPr/>
          </p:nvCxnSpPr>
          <p:spPr>
            <a:xfrm>
              <a:off x="5896222"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FB3E4673-B25A-4206-806E-01B486844B22}"/>
              </a:ext>
            </a:extLst>
          </p:cNvPr>
          <p:cNvGrpSpPr/>
          <p:nvPr/>
        </p:nvGrpSpPr>
        <p:grpSpPr>
          <a:xfrm>
            <a:off x="6775697" y="2102346"/>
            <a:ext cx="882604" cy="315431"/>
            <a:chOff x="7008960" y="2216646"/>
            <a:chExt cx="1052354" cy="315431"/>
          </a:xfrm>
        </p:grpSpPr>
        <p:sp>
          <p:nvSpPr>
            <p:cNvPr id="117" name="ee4pHeader1">
              <a:extLst>
                <a:ext uri="{FF2B5EF4-FFF2-40B4-BE49-F238E27FC236}">
                  <a16:creationId xmlns:a16="http://schemas.microsoft.com/office/drawing/2014/main" id="{2D57DAF1-CFCD-42F2-95AC-C685EC8C1D7C}"/>
                </a:ext>
              </a:extLst>
            </p:cNvPr>
            <p:cNvSpPr txBox="1"/>
            <p:nvPr/>
          </p:nvSpPr>
          <p:spPr>
            <a:xfrm>
              <a:off x="7008960" y="2216646"/>
              <a:ext cx="105235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1</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18" name="直線コネクタ 196">
              <a:extLst>
                <a:ext uri="{FF2B5EF4-FFF2-40B4-BE49-F238E27FC236}">
                  <a16:creationId xmlns:a16="http://schemas.microsoft.com/office/drawing/2014/main" id="{D29E5446-A83C-49DA-B98D-8F744F8E120B}"/>
                </a:ext>
              </a:extLst>
            </p:cNvPr>
            <p:cNvCxnSpPr/>
            <p:nvPr/>
          </p:nvCxnSpPr>
          <p:spPr>
            <a:xfrm>
              <a:off x="7008960"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2234BEB2-4923-4217-8677-321B343302B1}"/>
              </a:ext>
            </a:extLst>
          </p:cNvPr>
          <p:cNvGrpSpPr/>
          <p:nvPr/>
        </p:nvGrpSpPr>
        <p:grpSpPr>
          <a:xfrm>
            <a:off x="7794803" y="2102346"/>
            <a:ext cx="920710" cy="315431"/>
            <a:chOff x="8076270" y="2216646"/>
            <a:chExt cx="1097788" cy="315431"/>
          </a:xfrm>
        </p:grpSpPr>
        <p:sp>
          <p:nvSpPr>
            <p:cNvPr id="120" name="ee4pHeader1">
              <a:extLst>
                <a:ext uri="{FF2B5EF4-FFF2-40B4-BE49-F238E27FC236}">
                  <a16:creationId xmlns:a16="http://schemas.microsoft.com/office/drawing/2014/main" id="{64617E96-7282-47A4-9489-12806D3FCB40}"/>
                </a:ext>
              </a:extLst>
            </p:cNvPr>
            <p:cNvSpPr txBox="1"/>
            <p:nvPr/>
          </p:nvSpPr>
          <p:spPr>
            <a:xfrm>
              <a:off x="8121703" y="2216646"/>
              <a:ext cx="1052355"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2</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21" name="直線コネクタ 192">
              <a:extLst>
                <a:ext uri="{FF2B5EF4-FFF2-40B4-BE49-F238E27FC236}">
                  <a16:creationId xmlns:a16="http://schemas.microsoft.com/office/drawing/2014/main" id="{7707C43E-32D1-4345-8C0B-A48E24FAF861}"/>
                </a:ext>
              </a:extLst>
            </p:cNvPr>
            <p:cNvCxnSpPr/>
            <p:nvPr/>
          </p:nvCxnSpPr>
          <p:spPr>
            <a:xfrm>
              <a:off x="8076270" y="2532077"/>
              <a:ext cx="1052355"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22" name="Parallelogram 121">
            <a:extLst>
              <a:ext uri="{FF2B5EF4-FFF2-40B4-BE49-F238E27FC236}">
                <a16:creationId xmlns:a16="http://schemas.microsoft.com/office/drawing/2014/main" id="{47D6B9B9-35E2-4B88-B18F-37FF9FDB9E59}"/>
              </a:ext>
            </a:extLst>
          </p:cNvPr>
          <p:cNvSpPr/>
          <p:nvPr/>
        </p:nvSpPr>
        <p:spPr>
          <a:xfrm>
            <a:off x="3686249" y="2508602"/>
            <a:ext cx="5894703" cy="425881"/>
          </a:xfrm>
          <a:prstGeom prst="parallelogram">
            <a:avLst/>
          </a:prstGeom>
          <a:solidFill>
            <a:schemeClr val="tx2"/>
          </a:solidFill>
          <a:ln w="9049"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400" dirty="0">
                <a:solidFill>
                  <a:srgbClr val="FFFFFF"/>
                </a:solidFill>
                <a:latin typeface="Trebuchet MS" panose="020B0603020202020204" pitchFamily="34" charset="0"/>
                <a:ea typeface="Meiryo UI" panose="020B0604030504040204" pitchFamily="50" charset="-128"/>
              </a:rPr>
              <a:t>II. </a:t>
            </a:r>
            <a:r>
              <a:rPr kumimoji="1" lang="ja-JP" altLang="en-US" sz="1400" dirty="0">
                <a:solidFill>
                  <a:srgbClr val="FFFFFF"/>
                </a:solidFill>
                <a:latin typeface="Trebuchet MS" panose="020B0603020202020204" pitchFamily="34" charset="0"/>
                <a:ea typeface="Meiryo UI" panose="020B0604030504040204" pitchFamily="50" charset="-128"/>
              </a:rPr>
              <a:t>モデル事業の実施</a:t>
            </a:r>
            <a:endParaRPr kumimoji="1" lang="en-US" sz="1400" dirty="0">
              <a:solidFill>
                <a:srgbClr val="FFFFFF"/>
              </a:solidFill>
              <a:latin typeface="Trebuchet MS" panose="020B0603020202020204" pitchFamily="34" charset="0"/>
              <a:ea typeface="Meiryo UI" panose="020B0604030504040204" pitchFamily="50" charset="-128"/>
            </a:endParaRPr>
          </a:p>
        </p:txBody>
      </p:sp>
      <p:sp>
        <p:nvSpPr>
          <p:cNvPr id="126" name="Parallelogram 125">
            <a:extLst>
              <a:ext uri="{FF2B5EF4-FFF2-40B4-BE49-F238E27FC236}">
                <a16:creationId xmlns:a16="http://schemas.microsoft.com/office/drawing/2014/main" id="{7140C268-566A-4EF4-9E9F-70D73881D9B4}"/>
              </a:ext>
            </a:extLst>
          </p:cNvPr>
          <p:cNvSpPr/>
          <p:nvPr/>
        </p:nvSpPr>
        <p:spPr>
          <a:xfrm>
            <a:off x="3009899" y="2508602"/>
            <a:ext cx="737583" cy="425881"/>
          </a:xfrm>
          <a:prstGeom prst="parallelogram">
            <a:avLst/>
          </a:prstGeom>
          <a:solidFill>
            <a:schemeClr val="tx2"/>
          </a:solidFill>
          <a:ln w="9049"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kumimoji="1" lang="en-US" altLang="ja-JP" sz="1400" dirty="0">
                <a:solidFill>
                  <a:srgbClr val="FFFFFF"/>
                </a:solidFill>
                <a:latin typeface="Trebuchet MS" panose="020B0603020202020204" pitchFamily="34" charset="0"/>
                <a:ea typeface="Meiryo UI" panose="020B0604030504040204" pitchFamily="50" charset="-128"/>
              </a:rPr>
              <a:t>I. </a:t>
            </a:r>
            <a:r>
              <a:rPr kumimoji="1" lang="ja-JP" altLang="en-US" sz="1400" dirty="0">
                <a:solidFill>
                  <a:srgbClr val="FFFFFF"/>
                </a:solidFill>
                <a:latin typeface="Trebuchet MS" panose="020B0603020202020204" pitchFamily="34" charset="0"/>
                <a:ea typeface="Meiryo UI" panose="020B0604030504040204" pitchFamily="50" charset="-128"/>
              </a:rPr>
              <a:t>立ち</a:t>
            </a:r>
            <a:endParaRPr kumimoji="1" lang="en-US" altLang="ja-JP" sz="1400" dirty="0">
              <a:solidFill>
                <a:srgbClr val="FFFFFF"/>
              </a:solidFill>
              <a:latin typeface="Trebuchet MS" panose="020B0603020202020204" pitchFamily="34" charset="0"/>
              <a:ea typeface="Meiryo UI" panose="020B0604030504040204" pitchFamily="50" charset="-128"/>
            </a:endParaRPr>
          </a:p>
          <a:p>
            <a:pPr algn="ctr"/>
            <a:r>
              <a:rPr kumimoji="1" lang="ja-JP" altLang="en-US" sz="1400" dirty="0">
                <a:solidFill>
                  <a:srgbClr val="FFFFFF"/>
                </a:solidFill>
                <a:latin typeface="Trebuchet MS" panose="020B0603020202020204" pitchFamily="34" charset="0"/>
                <a:ea typeface="Meiryo UI" panose="020B0604030504040204" pitchFamily="50" charset="-128"/>
              </a:rPr>
              <a:t>上げ</a:t>
            </a:r>
            <a:endParaRPr kumimoji="1" lang="en-US" sz="1400" dirty="0">
              <a:solidFill>
                <a:srgbClr val="FFFFFF"/>
              </a:solidFill>
              <a:latin typeface="Trebuchet MS" panose="020B0603020202020204" pitchFamily="34" charset="0"/>
              <a:ea typeface="Meiryo UI" panose="020B0604030504040204" pitchFamily="50" charset="-128"/>
            </a:endParaRPr>
          </a:p>
        </p:txBody>
      </p:sp>
      <p:cxnSp>
        <p:nvCxnSpPr>
          <p:cNvPr id="128" name="直線コネクタ 234">
            <a:extLst>
              <a:ext uri="{FF2B5EF4-FFF2-40B4-BE49-F238E27FC236}">
                <a16:creationId xmlns:a16="http://schemas.microsoft.com/office/drawing/2014/main" id="{3A29B68C-126D-4041-8F99-28CD27DC4D83}"/>
              </a:ext>
            </a:extLst>
          </p:cNvPr>
          <p:cNvCxnSpPr>
            <a:cxnSpLocks/>
          </p:cNvCxnSpPr>
          <p:nvPr/>
        </p:nvCxnSpPr>
        <p:spPr>
          <a:xfrm>
            <a:off x="7785481"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9" name="直線コネクタ 228">
            <a:extLst>
              <a:ext uri="{FF2B5EF4-FFF2-40B4-BE49-F238E27FC236}">
                <a16:creationId xmlns:a16="http://schemas.microsoft.com/office/drawing/2014/main" id="{B6BD284E-FBCA-44EF-A813-7D8D100E0C9E}"/>
              </a:ext>
            </a:extLst>
          </p:cNvPr>
          <p:cNvCxnSpPr>
            <a:cxnSpLocks/>
          </p:cNvCxnSpPr>
          <p:nvPr/>
        </p:nvCxnSpPr>
        <p:spPr>
          <a:xfrm>
            <a:off x="3686249" y="3400666"/>
            <a:ext cx="0" cy="3699566"/>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2" name="直線コネクタ 228">
            <a:extLst>
              <a:ext uri="{FF2B5EF4-FFF2-40B4-BE49-F238E27FC236}">
                <a16:creationId xmlns:a16="http://schemas.microsoft.com/office/drawing/2014/main" id="{F3E333CA-A526-4A63-A19F-1AA66F93644A}"/>
              </a:ext>
            </a:extLst>
          </p:cNvPr>
          <p:cNvCxnSpPr/>
          <p:nvPr/>
        </p:nvCxnSpPr>
        <p:spPr>
          <a:xfrm flipH="1">
            <a:off x="3627112" y="3400667"/>
            <a:ext cx="0" cy="3699567"/>
          </a:xfrm>
          <a:prstGeom prst="line">
            <a:avLst/>
          </a:prstGeom>
          <a:ln w="15081"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直線コネクタ 229">
            <a:extLst>
              <a:ext uri="{FF2B5EF4-FFF2-40B4-BE49-F238E27FC236}">
                <a16:creationId xmlns:a16="http://schemas.microsoft.com/office/drawing/2014/main" id="{E372CBC0-D772-495E-B5CE-32FA8F87ED8E}"/>
              </a:ext>
            </a:extLst>
          </p:cNvPr>
          <p:cNvCxnSpPr/>
          <p:nvPr/>
        </p:nvCxnSpPr>
        <p:spPr>
          <a:xfrm flipH="1">
            <a:off x="4711057"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5" name="直線コネクタ 233">
            <a:extLst>
              <a:ext uri="{FF2B5EF4-FFF2-40B4-BE49-F238E27FC236}">
                <a16:creationId xmlns:a16="http://schemas.microsoft.com/office/drawing/2014/main" id="{A4C3D03C-8E32-45CB-BE17-EAEFBE0F5617}"/>
              </a:ext>
            </a:extLst>
          </p:cNvPr>
          <p:cNvCxnSpPr>
            <a:cxnSpLocks/>
          </p:cNvCxnSpPr>
          <p:nvPr/>
        </p:nvCxnSpPr>
        <p:spPr>
          <a:xfrm>
            <a:off x="5735865"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6" name="直線コネクタ 234">
            <a:extLst>
              <a:ext uri="{FF2B5EF4-FFF2-40B4-BE49-F238E27FC236}">
                <a16:creationId xmlns:a16="http://schemas.microsoft.com/office/drawing/2014/main" id="{8FF5A5F1-D9A3-40B9-9A40-57C4AC59B8A2}"/>
              </a:ext>
            </a:extLst>
          </p:cNvPr>
          <p:cNvCxnSpPr>
            <a:cxnSpLocks/>
          </p:cNvCxnSpPr>
          <p:nvPr/>
        </p:nvCxnSpPr>
        <p:spPr>
          <a:xfrm>
            <a:off x="6760673"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直線コネクタ 233">
            <a:extLst>
              <a:ext uri="{FF2B5EF4-FFF2-40B4-BE49-F238E27FC236}">
                <a16:creationId xmlns:a16="http://schemas.microsoft.com/office/drawing/2014/main" id="{4669E0C7-4B30-46BC-A745-F876A5D923E6}"/>
              </a:ext>
            </a:extLst>
          </p:cNvPr>
          <p:cNvCxnSpPr>
            <a:cxnSpLocks/>
          </p:cNvCxnSpPr>
          <p:nvPr/>
        </p:nvCxnSpPr>
        <p:spPr>
          <a:xfrm>
            <a:off x="8810289"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6" name="直線コネクタ 229">
            <a:extLst>
              <a:ext uri="{FF2B5EF4-FFF2-40B4-BE49-F238E27FC236}">
                <a16:creationId xmlns:a16="http://schemas.microsoft.com/office/drawing/2014/main" id="{BB46A32E-A7A6-4DE9-B5FB-8C2C0766BDD7}"/>
              </a:ext>
            </a:extLst>
          </p:cNvPr>
          <p:cNvCxnSpPr/>
          <p:nvPr/>
        </p:nvCxnSpPr>
        <p:spPr>
          <a:xfrm flipH="1">
            <a:off x="3070744" y="3400667"/>
            <a:ext cx="0" cy="3699567"/>
          </a:xfrm>
          <a:prstGeom prst="line">
            <a:avLst/>
          </a:prstGeom>
          <a:ln w="9049"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BB3C1222-B8E1-4830-B33C-02E9F8F7AE93}"/>
              </a:ext>
            </a:extLst>
          </p:cNvPr>
          <p:cNvGrpSpPr/>
          <p:nvPr/>
        </p:nvGrpSpPr>
        <p:grpSpPr>
          <a:xfrm>
            <a:off x="8875221" y="1797788"/>
            <a:ext cx="897495" cy="315431"/>
            <a:chOff x="9535608" y="2231394"/>
            <a:chExt cx="907729" cy="315431"/>
          </a:xfrm>
        </p:grpSpPr>
        <p:sp>
          <p:nvSpPr>
            <p:cNvPr id="149" name="ee4pHeader1">
              <a:extLst>
                <a:ext uri="{FF2B5EF4-FFF2-40B4-BE49-F238E27FC236}">
                  <a16:creationId xmlns:a16="http://schemas.microsoft.com/office/drawing/2014/main" id="{8898643C-7A0B-4823-9B15-4E1116677A44}"/>
                </a:ext>
              </a:extLst>
            </p:cNvPr>
            <p:cNvSpPr txBox="1"/>
            <p:nvPr/>
          </p:nvSpPr>
          <p:spPr>
            <a:xfrm>
              <a:off x="9535608" y="2231394"/>
              <a:ext cx="907729"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2023</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年</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50" name="直線コネクタ 194">
              <a:extLst>
                <a:ext uri="{FF2B5EF4-FFF2-40B4-BE49-F238E27FC236}">
                  <a16:creationId xmlns:a16="http://schemas.microsoft.com/office/drawing/2014/main" id="{63A2E0B1-0081-413A-9A38-ACCE97EAFF10}"/>
                </a:ext>
              </a:extLst>
            </p:cNvPr>
            <p:cNvCxnSpPr/>
            <p:nvPr/>
          </p:nvCxnSpPr>
          <p:spPr>
            <a:xfrm>
              <a:off x="9535608" y="2546825"/>
              <a:ext cx="907729"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870512BC-18F8-4604-961C-C7CCDC698615}"/>
              </a:ext>
            </a:extLst>
          </p:cNvPr>
          <p:cNvGrpSpPr/>
          <p:nvPr/>
        </p:nvGrpSpPr>
        <p:grpSpPr>
          <a:xfrm>
            <a:off x="3019046" y="1797788"/>
            <a:ext cx="5739571" cy="315431"/>
            <a:chOff x="9535608" y="2231394"/>
            <a:chExt cx="907729" cy="315431"/>
          </a:xfrm>
        </p:grpSpPr>
        <p:sp>
          <p:nvSpPr>
            <p:cNvPr id="152" name="ee4pHeader1">
              <a:extLst>
                <a:ext uri="{FF2B5EF4-FFF2-40B4-BE49-F238E27FC236}">
                  <a16:creationId xmlns:a16="http://schemas.microsoft.com/office/drawing/2014/main" id="{E673F908-41BE-4D32-8E3A-098214335B6F}"/>
                </a:ext>
              </a:extLst>
            </p:cNvPr>
            <p:cNvSpPr txBox="1"/>
            <p:nvPr/>
          </p:nvSpPr>
          <p:spPr>
            <a:xfrm>
              <a:off x="9535608" y="2231394"/>
              <a:ext cx="907729"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2022</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年</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53" name="直線コネクタ 194">
              <a:extLst>
                <a:ext uri="{FF2B5EF4-FFF2-40B4-BE49-F238E27FC236}">
                  <a16:creationId xmlns:a16="http://schemas.microsoft.com/office/drawing/2014/main" id="{43C3A86B-48A5-4543-9A4D-D3F265CF4222}"/>
                </a:ext>
              </a:extLst>
            </p:cNvPr>
            <p:cNvCxnSpPr/>
            <p:nvPr/>
          </p:nvCxnSpPr>
          <p:spPr>
            <a:xfrm>
              <a:off x="9535608" y="2546825"/>
              <a:ext cx="907729"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54" name="Straight Connector 153">
            <a:extLst>
              <a:ext uri="{FF2B5EF4-FFF2-40B4-BE49-F238E27FC236}">
                <a16:creationId xmlns:a16="http://schemas.microsoft.com/office/drawing/2014/main" id="{2A43A174-3A08-4A38-A325-CD3918BDF8BB}"/>
              </a:ext>
            </a:extLst>
          </p:cNvPr>
          <p:cNvCxnSpPr/>
          <p:nvPr/>
        </p:nvCxnSpPr>
        <p:spPr>
          <a:xfrm>
            <a:off x="785978" y="5277779"/>
            <a:ext cx="8986738"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6" name="Text Placeholder 2">
            <a:extLst>
              <a:ext uri="{FF2B5EF4-FFF2-40B4-BE49-F238E27FC236}">
                <a16:creationId xmlns:a16="http://schemas.microsoft.com/office/drawing/2014/main" id="{39D58FB3-C20F-444A-B956-2FFF554CA5AD}"/>
              </a:ext>
            </a:extLst>
          </p:cNvPr>
          <p:cNvSpPr txBox="1">
            <a:spLocks/>
          </p:cNvSpPr>
          <p:nvPr/>
        </p:nvSpPr>
        <p:spPr>
          <a:xfrm>
            <a:off x="785978" y="3806268"/>
            <a:ext cx="2189814" cy="993741"/>
          </a:xfrm>
          <a:prstGeom prst="rect">
            <a:avLst/>
          </a:prstGeom>
          <a:noFill/>
          <a:extLst>
            <a:ext uri="{909E8E84-426E-40DD-AFC4-6F175D3DCCD1}">
              <a14:hiddenFill xmlns:a14="http://schemas.microsoft.com/office/drawing/2010/main">
                <a:solidFill>
                  <a:srgbClr val="F2F2F2"/>
                </a:solidFill>
              </a14:hiddenFill>
            </a:ext>
          </a:extLst>
        </p:spPr>
        <p:txBody>
          <a:bodyPr vert="horz" lIns="68400" tIns="68400" rIns="68400" bIns="6840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製品のライフサイクル</a:t>
            </a:r>
            <a:r>
              <a:rPr lang="en-US" altLang="ja-JP" sz="1600" dirty="0">
                <a:solidFill>
                  <a:srgbClr val="295E7E"/>
                </a:solidFill>
                <a:latin typeface="Trebuchet MS" panose="020B0603020202020204" pitchFamily="34" charset="0"/>
                <a:ea typeface="Meiryo UI" panose="020B0604030504040204" pitchFamily="50" charset="-128"/>
              </a:rPr>
              <a:t>GHG</a:t>
            </a:r>
            <a:r>
              <a:rPr lang="ja-JP" altLang="en-US" sz="1600" dirty="0">
                <a:solidFill>
                  <a:srgbClr val="295E7E"/>
                </a:solidFill>
                <a:latin typeface="Trebuchet MS" panose="020B0603020202020204" pitchFamily="34" charset="0"/>
                <a:ea typeface="Meiryo UI" panose="020B0604030504040204" pitchFamily="50" charset="-128"/>
              </a:rPr>
              <a:t>排出量の基準</a:t>
            </a:r>
            <a:br>
              <a:rPr lang="en-US" altLang="ja-JP" sz="1600" dirty="0">
                <a:solidFill>
                  <a:srgbClr val="295E7E"/>
                </a:solidFill>
                <a:latin typeface="Trebuchet MS" panose="020B0603020202020204" pitchFamily="34" charset="0"/>
                <a:ea typeface="Meiryo UI" panose="020B0604030504040204" pitchFamily="50" charset="-128"/>
              </a:rPr>
            </a:br>
            <a:r>
              <a:rPr lang="en-US" altLang="ja-JP" sz="1600" dirty="0">
                <a:solidFill>
                  <a:srgbClr val="295E7E"/>
                </a:solidFill>
                <a:latin typeface="Trebuchet MS" panose="020B0603020202020204" pitchFamily="34" charset="0"/>
                <a:ea typeface="Meiryo UI" panose="020B0604030504040204" pitchFamily="50" charset="-128"/>
              </a:rPr>
              <a:t>(</a:t>
            </a:r>
            <a:r>
              <a:rPr lang="ja-JP" altLang="en-US" sz="1600" dirty="0">
                <a:solidFill>
                  <a:srgbClr val="295E7E"/>
                </a:solidFill>
                <a:latin typeface="Trebuchet MS" panose="020B0603020202020204" pitchFamily="34" charset="0"/>
                <a:ea typeface="Meiryo UI" panose="020B0604030504040204" pitchFamily="50" charset="-128"/>
              </a:rPr>
              <a:t>調達、表示方法等</a:t>
            </a:r>
            <a:r>
              <a:rPr lang="en-US" altLang="ja-JP" sz="1600" dirty="0">
                <a:solidFill>
                  <a:srgbClr val="295E7E"/>
                </a:solidFill>
                <a:latin typeface="Trebuchet MS" panose="020B0603020202020204" pitchFamily="34" charset="0"/>
                <a:ea typeface="Meiryo UI" panose="020B0604030504040204" pitchFamily="50" charset="-128"/>
              </a:rPr>
              <a:t>)</a:t>
            </a:r>
            <a:endParaRPr lang="ja-JP" altLang="en-US" sz="1600" dirty="0">
              <a:solidFill>
                <a:srgbClr val="295E7E"/>
              </a:solidFill>
              <a:latin typeface="Trebuchet MS" panose="020B0603020202020204" pitchFamily="34" charset="0"/>
              <a:ea typeface="Meiryo UI" panose="020B0604030504040204" pitchFamily="50" charset="-128"/>
            </a:endParaRPr>
          </a:p>
        </p:txBody>
      </p:sp>
      <p:sp>
        <p:nvSpPr>
          <p:cNvPr id="157" name="Text Placeholder 2">
            <a:extLst>
              <a:ext uri="{FF2B5EF4-FFF2-40B4-BE49-F238E27FC236}">
                <a16:creationId xmlns:a16="http://schemas.microsoft.com/office/drawing/2014/main" id="{7EA28C22-93CF-480B-91A9-5E31ED45D74B}"/>
              </a:ext>
            </a:extLst>
          </p:cNvPr>
          <p:cNvSpPr txBox="1">
            <a:spLocks/>
          </p:cNvSpPr>
          <p:nvPr/>
        </p:nvSpPr>
        <p:spPr>
          <a:xfrm>
            <a:off x="785978" y="5336849"/>
            <a:ext cx="2189814" cy="993741"/>
          </a:xfrm>
          <a:prstGeom prst="rect">
            <a:avLst/>
          </a:prstGeom>
          <a:noFill/>
          <a:extLst>
            <a:ext uri="{909E8E84-426E-40DD-AFC4-6F175D3DCCD1}">
              <a14:hiddenFill xmlns:a14="http://schemas.microsoft.com/office/drawing/2010/main">
                <a:solidFill>
                  <a:srgbClr val="F2F2F2"/>
                </a:solidFill>
              </a14:hiddenFill>
            </a:ext>
          </a:extLst>
        </p:spPr>
        <p:txBody>
          <a:bodyPr vert="horz" lIns="68400" tIns="68400" rIns="68400" bIns="6840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pPr>
            <a:r>
              <a:rPr lang="ja-JP" altLang="en-US" sz="1600" dirty="0">
                <a:solidFill>
                  <a:srgbClr val="295E7E"/>
                </a:solidFill>
                <a:latin typeface="Trebuchet MS" panose="020B0603020202020204" pitchFamily="34" charset="0"/>
                <a:ea typeface="Meiryo UI" panose="020B0604030504040204" pitchFamily="50" charset="-128"/>
              </a:rPr>
              <a:t>メーカー</a:t>
            </a:r>
            <a:r>
              <a:rPr lang="ja-JP" altLang="en-US" sz="1600">
                <a:solidFill>
                  <a:srgbClr val="295E7E"/>
                </a:solidFill>
                <a:latin typeface="Trebuchet MS" panose="020B0603020202020204" pitchFamily="34" charset="0"/>
                <a:ea typeface="Meiryo UI" panose="020B0604030504040204" pitchFamily="50" charset="-128"/>
              </a:rPr>
              <a:t>や卸売企業</a:t>
            </a:r>
            <a:r>
              <a:rPr lang="ja-JP" altLang="en-US" sz="1600" dirty="0">
                <a:solidFill>
                  <a:srgbClr val="295E7E"/>
                </a:solidFill>
                <a:latin typeface="Trebuchet MS" panose="020B0603020202020204" pitchFamily="34" charset="0"/>
                <a:ea typeface="Meiryo UI" panose="020B0604030504040204" pitchFamily="50" charset="-128"/>
              </a:rPr>
              <a:t>等に対する排出量算定・</a:t>
            </a:r>
            <a:br>
              <a:rPr lang="en-US" altLang="ja-JP" sz="1600" dirty="0">
                <a:solidFill>
                  <a:srgbClr val="295E7E"/>
                </a:solidFill>
                <a:latin typeface="Trebuchet MS" panose="020B0603020202020204" pitchFamily="34" charset="0"/>
                <a:ea typeface="Meiryo UI" panose="020B0604030504040204" pitchFamily="50" charset="-128"/>
              </a:rPr>
            </a:br>
            <a:r>
              <a:rPr lang="ja-JP" altLang="en-US" sz="1600" dirty="0">
                <a:solidFill>
                  <a:srgbClr val="295E7E"/>
                </a:solidFill>
                <a:latin typeface="Trebuchet MS" panose="020B0603020202020204" pitchFamily="34" charset="0"/>
                <a:ea typeface="Meiryo UI" panose="020B0604030504040204" pitchFamily="50" charset="-128"/>
              </a:rPr>
              <a:t>削減の依頼・要請・支援等の検討</a:t>
            </a:r>
          </a:p>
        </p:txBody>
      </p:sp>
      <p:sp>
        <p:nvSpPr>
          <p:cNvPr id="164" name="Arrow: Pentagon 163">
            <a:extLst>
              <a:ext uri="{FF2B5EF4-FFF2-40B4-BE49-F238E27FC236}">
                <a16:creationId xmlns:a16="http://schemas.microsoft.com/office/drawing/2014/main" id="{BC3311AD-BE3B-4932-8DAA-FA155FBC57D8}"/>
              </a:ext>
            </a:extLst>
          </p:cNvPr>
          <p:cNvSpPr/>
          <p:nvPr/>
        </p:nvSpPr>
        <p:spPr>
          <a:xfrm>
            <a:off x="3100935" y="3472108"/>
            <a:ext cx="476681" cy="3577591"/>
          </a:xfrm>
          <a:prstGeom prst="homePlate">
            <a:avLst>
              <a:gd name="adj" fmla="val 18199"/>
            </a:avLst>
          </a:prstGeom>
          <a:solidFill>
            <a:srgbClr val="E2E2E2"/>
          </a:solidFill>
          <a:ln w="9525" cap="rnd" cmpd="sng" algn="ctr">
            <a:solidFill>
              <a:srgbClr val="B2B2B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体制</a:t>
            </a:r>
            <a:endParaRPr kumimoji="1"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ja-JP" altLang="en-US" sz="1400" dirty="0">
                <a:solidFill>
                  <a:schemeClr val="tx1"/>
                </a:solidFill>
                <a:latin typeface="Trebuchet MS" panose="020B0603020202020204" pitchFamily="34" charset="0"/>
                <a:ea typeface="Meiryo UI" panose="020B0604030504040204" pitchFamily="50" charset="-128"/>
              </a:rPr>
              <a:t>構築</a:t>
            </a:r>
            <a:endParaRPr kumimoji="1" lang="en-US" sz="1400" dirty="0">
              <a:solidFill>
                <a:schemeClr val="tx1"/>
              </a:solidFill>
              <a:latin typeface="Trebuchet MS" panose="020B0603020202020204" pitchFamily="34" charset="0"/>
              <a:ea typeface="Meiryo UI" panose="020B0604030504040204" pitchFamily="50" charset="-128"/>
            </a:endParaRPr>
          </a:p>
        </p:txBody>
      </p:sp>
      <p:grpSp>
        <p:nvGrpSpPr>
          <p:cNvPr id="165" name="Group 164">
            <a:extLst>
              <a:ext uri="{FF2B5EF4-FFF2-40B4-BE49-F238E27FC236}">
                <a16:creationId xmlns:a16="http://schemas.microsoft.com/office/drawing/2014/main" id="{1D236F18-9F8E-4DBE-A6C6-C5CAE6F4F92F}"/>
              </a:ext>
            </a:extLst>
          </p:cNvPr>
          <p:cNvGrpSpPr/>
          <p:nvPr/>
        </p:nvGrpSpPr>
        <p:grpSpPr>
          <a:xfrm>
            <a:off x="8852007" y="2102346"/>
            <a:ext cx="920709" cy="315431"/>
            <a:chOff x="9234434" y="2216646"/>
            <a:chExt cx="1052354" cy="315431"/>
          </a:xfrm>
        </p:grpSpPr>
        <p:sp>
          <p:nvSpPr>
            <p:cNvPr id="166" name="ee4pHeader1">
              <a:extLst>
                <a:ext uri="{FF2B5EF4-FFF2-40B4-BE49-F238E27FC236}">
                  <a16:creationId xmlns:a16="http://schemas.microsoft.com/office/drawing/2014/main" id="{22CF8463-8A5B-4FAD-8331-FFD583EC9807}"/>
                </a:ext>
              </a:extLst>
            </p:cNvPr>
            <p:cNvSpPr txBox="1"/>
            <p:nvPr/>
          </p:nvSpPr>
          <p:spPr>
            <a:xfrm>
              <a:off x="9280654" y="2216646"/>
              <a:ext cx="947214" cy="283765"/>
            </a:xfrm>
            <a:prstGeom prst="homePlate">
              <a:avLst>
                <a:gd name="adj" fmla="val 28868"/>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vert="horz" wrap="square" lIns="0" tIns="0" rIns="0" bIns="0" rtlCol="0" anchor="b" anchorCtr="0">
              <a:noAutofit/>
            </a:bodyPr>
            <a:lstStyle/>
            <a:p>
              <a:pPr marL="0" lvl="3" algn="ctr">
                <a:spcBef>
                  <a:spcPct val="0"/>
                </a:spcBef>
              </a:pPr>
              <a:r>
                <a:rPr lang="en-US" altLang="ja-JP"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1</a:t>
              </a:r>
              <a:r>
                <a:rPr lang="ja-JP" alt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rPr>
                <a:t>月</a:t>
              </a:r>
              <a:endParaRPr lang="en-US" sz="1600" dirty="0">
                <a:solidFill>
                  <a:srgbClr val="295E7E"/>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167" name="直線コネクタ 194">
              <a:extLst>
                <a:ext uri="{FF2B5EF4-FFF2-40B4-BE49-F238E27FC236}">
                  <a16:creationId xmlns:a16="http://schemas.microsoft.com/office/drawing/2014/main" id="{4D43365B-6252-4489-A8F5-5AB46B4B18F9}"/>
                </a:ext>
              </a:extLst>
            </p:cNvPr>
            <p:cNvCxnSpPr/>
            <p:nvPr/>
          </p:nvCxnSpPr>
          <p:spPr>
            <a:xfrm>
              <a:off x="9234434" y="2532077"/>
              <a:ext cx="1052354" cy="0"/>
            </a:xfrm>
            <a:prstGeom prst="line">
              <a:avLst/>
            </a:prstGeom>
            <a:ln w="9049"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9" name="Rectangle 168">
            <a:extLst>
              <a:ext uri="{FF2B5EF4-FFF2-40B4-BE49-F238E27FC236}">
                <a16:creationId xmlns:a16="http://schemas.microsoft.com/office/drawing/2014/main" id="{CB8B26BA-8D62-45AE-B516-7E5CB102637C}"/>
              </a:ext>
            </a:extLst>
          </p:cNvPr>
          <p:cNvSpPr/>
          <p:nvPr/>
        </p:nvSpPr>
        <p:spPr>
          <a:xfrm>
            <a:off x="3834469" y="2971025"/>
            <a:ext cx="1370864"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Kick-off)</a:t>
            </a:r>
          </a:p>
        </p:txBody>
      </p:sp>
      <p:sp>
        <p:nvSpPr>
          <p:cNvPr id="170" name="Rectangle 169">
            <a:extLst>
              <a:ext uri="{FF2B5EF4-FFF2-40B4-BE49-F238E27FC236}">
                <a16:creationId xmlns:a16="http://schemas.microsoft.com/office/drawing/2014/main" id="{BC75CBE4-C124-4D7E-B237-87745989CFBB}"/>
              </a:ext>
            </a:extLst>
          </p:cNvPr>
          <p:cNvSpPr/>
          <p:nvPr/>
        </p:nvSpPr>
        <p:spPr>
          <a:xfrm>
            <a:off x="6112659" y="2971025"/>
            <a:ext cx="1370864"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ビジネスモデル</a:t>
            </a:r>
            <a:r>
              <a:rPr kumimoji="1" lang="en-US" sz="1400" dirty="0">
                <a:solidFill>
                  <a:schemeClr val="tx1"/>
                </a:solidFill>
                <a:latin typeface="Meiryo UI" panose="020B0604030504040204" pitchFamily="50" charset="-128"/>
                <a:ea typeface="Meiryo UI" panose="020B0604030504040204" pitchFamily="50" charset="-128"/>
              </a:rPr>
              <a:t>)</a:t>
            </a:r>
          </a:p>
        </p:txBody>
      </p:sp>
      <p:sp>
        <p:nvSpPr>
          <p:cNvPr id="171" name="Rectangle 170">
            <a:extLst>
              <a:ext uri="{FF2B5EF4-FFF2-40B4-BE49-F238E27FC236}">
                <a16:creationId xmlns:a16="http://schemas.microsoft.com/office/drawing/2014/main" id="{E63894B1-F144-4D61-AD04-CD83F93A51F1}"/>
              </a:ext>
            </a:extLst>
          </p:cNvPr>
          <p:cNvSpPr/>
          <p:nvPr/>
        </p:nvSpPr>
        <p:spPr>
          <a:xfrm>
            <a:off x="8573838" y="2971025"/>
            <a:ext cx="1216770" cy="472140"/>
          </a:xfrm>
          <a:prstGeom prst="rect">
            <a:avLst/>
          </a:prstGeom>
          <a:solidFill>
            <a:srgbClr val="B3E4D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経営者との議論</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最終報告</a:t>
            </a:r>
            <a:r>
              <a:rPr kumimoji="1" lang="en-US" sz="1400" dirty="0">
                <a:solidFill>
                  <a:schemeClr val="tx1"/>
                </a:solidFill>
                <a:latin typeface="Meiryo UI" panose="020B0604030504040204" pitchFamily="50" charset="-128"/>
                <a:ea typeface="Meiryo UI" panose="020B0604030504040204" pitchFamily="50" charset="-128"/>
              </a:rPr>
              <a:t>)</a:t>
            </a:r>
          </a:p>
        </p:txBody>
      </p:sp>
      <p:sp>
        <p:nvSpPr>
          <p:cNvPr id="65" name="Arrow: Pentagon 64">
            <a:extLst>
              <a:ext uri="{FF2B5EF4-FFF2-40B4-BE49-F238E27FC236}">
                <a16:creationId xmlns:a16="http://schemas.microsoft.com/office/drawing/2014/main" id="{00C14061-851A-42A1-A57E-3781857CA027}"/>
              </a:ext>
            </a:extLst>
          </p:cNvPr>
          <p:cNvSpPr/>
          <p:nvPr/>
        </p:nvSpPr>
        <p:spPr>
          <a:xfrm>
            <a:off x="6775697" y="5613983"/>
            <a:ext cx="1019106"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lang="ja-JP" altLang="en-US" sz="1400" dirty="0">
                <a:solidFill>
                  <a:schemeClr val="tx1"/>
                </a:solidFill>
                <a:latin typeface="Trebuchet MS" panose="020B0603020202020204" pitchFamily="34" charset="0"/>
                <a:ea typeface="Meiryo UI" panose="020B0604030504040204" pitchFamily="50" charset="-128"/>
              </a:rPr>
              <a:t>依頼対象</a:t>
            </a:r>
            <a:br>
              <a:rPr lang="en-US" altLang="ja-JP" sz="1400" dirty="0">
                <a:solidFill>
                  <a:schemeClr val="tx1"/>
                </a:solidFill>
                <a:latin typeface="Trebuchet MS" panose="020B0603020202020204" pitchFamily="34" charset="0"/>
                <a:ea typeface="Meiryo UI" panose="020B0604030504040204" pitchFamily="50" charset="-128"/>
              </a:rPr>
            </a:br>
            <a:r>
              <a:rPr lang="ja-JP" altLang="en-US" sz="1400" dirty="0">
                <a:solidFill>
                  <a:schemeClr val="tx1"/>
                </a:solidFill>
                <a:latin typeface="Trebuchet MS" panose="020B0603020202020204" pitchFamily="34" charset="0"/>
                <a:ea typeface="Meiryo UI" panose="020B0604030504040204" pitchFamily="50" charset="-128"/>
              </a:rPr>
              <a:t>企業や製品</a:t>
            </a:r>
            <a:br>
              <a:rPr lang="en-US" altLang="ja-JP" sz="1400" dirty="0">
                <a:solidFill>
                  <a:schemeClr val="tx1"/>
                </a:solidFill>
                <a:latin typeface="Trebuchet MS" panose="020B0603020202020204" pitchFamily="34" charset="0"/>
                <a:ea typeface="Meiryo UI" panose="020B0604030504040204" pitchFamily="50" charset="-128"/>
              </a:rPr>
            </a:br>
            <a:r>
              <a:rPr lang="ja-JP" altLang="en-US" sz="1400" dirty="0">
                <a:solidFill>
                  <a:schemeClr val="tx1"/>
                </a:solidFill>
                <a:latin typeface="Trebuchet MS" panose="020B0603020202020204" pitchFamily="34" charset="0"/>
                <a:ea typeface="Meiryo UI" panose="020B0604030504040204" pitchFamily="50" charset="-128"/>
              </a:rPr>
              <a:t>の検討</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6" name="Arrow: Pentagon 65">
            <a:extLst>
              <a:ext uri="{FF2B5EF4-FFF2-40B4-BE49-F238E27FC236}">
                <a16:creationId xmlns:a16="http://schemas.microsoft.com/office/drawing/2014/main" id="{88F04B0D-CCA5-4219-A378-A879848C96F0}"/>
              </a:ext>
            </a:extLst>
          </p:cNvPr>
          <p:cNvSpPr/>
          <p:nvPr/>
        </p:nvSpPr>
        <p:spPr>
          <a:xfrm>
            <a:off x="7785481" y="5613983"/>
            <a:ext cx="1987236"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依頼内容や方法の検討</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7" name="Arrow: Pentagon 66">
            <a:extLst>
              <a:ext uri="{FF2B5EF4-FFF2-40B4-BE49-F238E27FC236}">
                <a16:creationId xmlns:a16="http://schemas.microsoft.com/office/drawing/2014/main" id="{1E305A96-ABD7-4EF0-992D-D620EE318621}"/>
              </a:ext>
            </a:extLst>
          </p:cNvPr>
          <p:cNvSpPr/>
          <p:nvPr/>
        </p:nvSpPr>
        <p:spPr>
          <a:xfrm>
            <a:off x="5721290" y="5613983"/>
            <a:ext cx="1019106"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lang="ja-JP" altLang="en-US" sz="1400">
                <a:solidFill>
                  <a:schemeClr val="tx1"/>
                </a:solidFill>
                <a:latin typeface="Trebuchet MS" panose="020B0603020202020204" pitchFamily="34" charset="0"/>
                <a:ea typeface="Meiryo UI" panose="020B0604030504040204" pitchFamily="50" charset="-128"/>
              </a:rPr>
              <a:t>目標</a:t>
            </a:r>
            <a:r>
              <a:rPr lang="ja-JP" altLang="en-US" sz="1400" dirty="0">
                <a:solidFill>
                  <a:schemeClr val="tx1"/>
                </a:solidFill>
                <a:latin typeface="Trebuchet MS" panose="020B0603020202020204" pitchFamily="34" charset="0"/>
                <a:ea typeface="Meiryo UI" panose="020B0604030504040204" pitchFamily="50" charset="-128"/>
              </a:rPr>
              <a:t>設定</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8" name="Arrow: Pentagon 67">
            <a:extLst>
              <a:ext uri="{FF2B5EF4-FFF2-40B4-BE49-F238E27FC236}">
                <a16:creationId xmlns:a16="http://schemas.microsoft.com/office/drawing/2014/main" id="{C3370741-7A70-488C-B566-781430A51552}"/>
              </a:ext>
            </a:extLst>
          </p:cNvPr>
          <p:cNvSpPr/>
          <p:nvPr/>
        </p:nvSpPr>
        <p:spPr>
          <a:xfrm>
            <a:off x="3773913" y="3877922"/>
            <a:ext cx="1961952"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lang="ja-JP" altLang="en-US" sz="1400" dirty="0">
                <a:solidFill>
                  <a:schemeClr val="tx1"/>
                </a:solidFill>
                <a:latin typeface="Trebuchet MS" panose="020B0603020202020204" pitchFamily="34" charset="0"/>
                <a:ea typeface="Meiryo UI" panose="020B0604030504040204" pitchFamily="50" charset="-128"/>
              </a:rPr>
              <a:t>小売り事業における</a:t>
            </a:r>
            <a:endParaRPr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en-US" altLang="ja-JP" sz="1400" dirty="0">
                <a:solidFill>
                  <a:schemeClr val="tx1"/>
                </a:solidFill>
                <a:latin typeface="Trebuchet MS" panose="020B0603020202020204" pitchFamily="34" charset="0"/>
                <a:ea typeface="Meiryo UI" panose="020B0604030504040204" pitchFamily="50" charset="-128"/>
              </a:rPr>
              <a:t>CFP</a:t>
            </a:r>
            <a:r>
              <a:rPr kumimoji="1" lang="ja-JP" altLang="en-US" sz="1400" dirty="0">
                <a:solidFill>
                  <a:schemeClr val="tx1"/>
                </a:solidFill>
                <a:latin typeface="Trebuchet MS" panose="020B0603020202020204" pitchFamily="34" charset="0"/>
                <a:ea typeface="Meiryo UI" panose="020B0604030504040204" pitchFamily="50" charset="-128"/>
              </a:rPr>
              <a:t>の活用戦略を</a:t>
            </a:r>
            <a:br>
              <a:rPr kumimoji="1" lang="en-US" altLang="ja-JP" sz="1400" dirty="0">
                <a:solidFill>
                  <a:schemeClr val="tx1"/>
                </a:solidFill>
                <a:latin typeface="Trebuchet MS" panose="020B0603020202020204" pitchFamily="34" charset="0"/>
                <a:ea typeface="Meiryo UI" panose="020B0604030504040204" pitchFamily="50" charset="-128"/>
              </a:rPr>
            </a:br>
            <a:r>
              <a:rPr kumimoji="1" lang="ja-JP" altLang="en-US" sz="1400" dirty="0">
                <a:solidFill>
                  <a:schemeClr val="tx1"/>
                </a:solidFill>
                <a:latin typeface="Trebuchet MS" panose="020B0603020202020204" pitchFamily="34" charset="0"/>
                <a:ea typeface="Meiryo UI" panose="020B0604030504040204" pitchFamily="50" charset="-128"/>
              </a:rPr>
              <a:t>検討</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9" name="Arrow: Pentagon 68">
            <a:extLst>
              <a:ext uri="{FF2B5EF4-FFF2-40B4-BE49-F238E27FC236}">
                <a16:creationId xmlns:a16="http://schemas.microsoft.com/office/drawing/2014/main" id="{429E115E-EF44-4D3C-90F0-352204DAD68C}"/>
              </a:ext>
            </a:extLst>
          </p:cNvPr>
          <p:cNvSpPr/>
          <p:nvPr/>
        </p:nvSpPr>
        <p:spPr>
          <a:xfrm>
            <a:off x="5817826" y="3877922"/>
            <a:ext cx="1781331" cy="993741"/>
          </a:xfrm>
          <a:prstGeom prst="homePlate">
            <a:avLst>
              <a:gd name="adj" fmla="val 18199"/>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6868" tIns="43434" rIns="86868" bIns="43434"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基準への落とし込み</a:t>
            </a:r>
            <a:endParaRPr kumimoji="1" lang="en-US" sz="14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580048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579EEF-0053-468C-A06C-395B6210A51F}"/>
              </a:ext>
            </a:extLst>
          </p:cNvPr>
          <p:cNvGraphicFramePr>
            <a:graphicFrameLocks noChangeAspect="1"/>
          </p:cNvGraphicFramePr>
          <p:nvPr>
            <p:custDataLst>
              <p:tags r:id="rId1"/>
            </p:custDataLst>
            <p:extLst>
              <p:ext uri="{D42A27DB-BD31-4B8C-83A1-F6EECF244321}">
                <p14:modId xmlns:p14="http://schemas.microsoft.com/office/powerpoint/2010/main" val="782980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0C579EEF-0053-468C-A06C-395B6210A5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36BBB4-692A-41C2-8C84-F4786294CB9D}"/>
              </a:ext>
            </a:extLst>
          </p:cNvPr>
          <p:cNvSpPr>
            <a:spLocks noGrp="1"/>
          </p:cNvSpPr>
          <p:nvPr>
            <p:ph type="title"/>
          </p:nvPr>
        </p:nvSpPr>
        <p:spPr/>
        <p:txBody>
          <a:bodyPr vert="horz"/>
          <a:lstStyle/>
          <a:p>
            <a:r>
              <a:rPr lang="ja-JP" altLang="en-US" dirty="0"/>
              <a:t>採択企業の決定の際に考慮する主な観点</a:t>
            </a:r>
            <a:endParaRPr kumimoji="1" lang="en-US" dirty="0"/>
          </a:p>
        </p:txBody>
      </p:sp>
      <p:sp>
        <p:nvSpPr>
          <p:cNvPr id="3" name="Content Placeholder 2">
            <a:extLst>
              <a:ext uri="{FF2B5EF4-FFF2-40B4-BE49-F238E27FC236}">
                <a16:creationId xmlns:a16="http://schemas.microsoft.com/office/drawing/2014/main" id="{70059A3B-6D1E-4526-8D59-EC45754426BC}"/>
              </a:ext>
            </a:extLst>
          </p:cNvPr>
          <p:cNvSpPr>
            <a:spLocks noGrp="1"/>
          </p:cNvSpPr>
          <p:nvPr>
            <p:ph sz="quarter" idx="13"/>
          </p:nvPr>
        </p:nvSpPr>
        <p:spPr>
          <a:xfrm>
            <a:off x="161925" y="1110920"/>
            <a:ext cx="10367963" cy="942717"/>
          </a:xfrm>
        </p:spPr>
        <p:txBody>
          <a:bodyPr/>
          <a:lstStyle/>
          <a:p>
            <a:r>
              <a:rPr lang="ja-JP" altLang="en-US" dirty="0"/>
              <a:t>製品・サービスの</a:t>
            </a:r>
            <a:r>
              <a:rPr lang="en-US" altLang="ja-JP" dirty="0"/>
              <a:t>CFP</a:t>
            </a:r>
            <a:r>
              <a:rPr lang="ja-JP" altLang="en-US" dirty="0"/>
              <a:t>の算定・表示・活用に取り組むモデル企業を創出するという趣旨に鑑み、</a:t>
            </a:r>
            <a:br>
              <a:rPr lang="en-US" altLang="ja-JP" dirty="0"/>
            </a:br>
            <a:r>
              <a:rPr lang="ja-JP" altLang="en-US" dirty="0"/>
              <a:t>以下の観点を考慮して採択する企業を決定する</a:t>
            </a:r>
          </a:p>
        </p:txBody>
      </p:sp>
      <p:cxnSp>
        <p:nvCxnSpPr>
          <p:cNvPr id="7" name="Straight Connector 6">
            <a:extLst>
              <a:ext uri="{FF2B5EF4-FFF2-40B4-BE49-F238E27FC236}">
                <a16:creationId xmlns:a16="http://schemas.microsoft.com/office/drawing/2014/main" id="{794CEF9F-97D0-4F97-890B-774327A2BE7A}"/>
              </a:ext>
            </a:extLst>
          </p:cNvPr>
          <p:cNvCxnSpPr/>
          <p:nvPr/>
        </p:nvCxnSpPr>
        <p:spPr>
          <a:xfrm>
            <a:off x="1662159" y="4997303"/>
            <a:ext cx="8867729" cy="0"/>
          </a:xfrm>
          <a:prstGeom prst="line">
            <a:avLst/>
          </a:prstGeom>
          <a:ln w="6350" cap="flat" cmpd="sng" algn="ctr">
            <a:solidFill>
              <a:srgbClr val="9A9A9A"/>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E9911B8-FA30-4545-BBF9-B72625026CA8}"/>
              </a:ext>
            </a:extLst>
          </p:cNvPr>
          <p:cNvCxnSpPr/>
          <p:nvPr/>
        </p:nvCxnSpPr>
        <p:spPr>
          <a:xfrm>
            <a:off x="1662159" y="6003232"/>
            <a:ext cx="8867729" cy="0"/>
          </a:xfrm>
          <a:prstGeom prst="line">
            <a:avLst/>
          </a:prstGeom>
          <a:ln w="6350" cap="flat" cmpd="sng" algn="ctr">
            <a:solidFill>
              <a:srgbClr val="9A9A9A"/>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B8FD1255-AE09-4715-9A02-87742E12BA57}"/>
              </a:ext>
            </a:extLst>
          </p:cNvPr>
          <p:cNvGrpSpPr/>
          <p:nvPr/>
        </p:nvGrpSpPr>
        <p:grpSpPr>
          <a:xfrm>
            <a:off x="1647705" y="2138354"/>
            <a:ext cx="306910" cy="306910"/>
            <a:chOff x="7420016" y="1889334"/>
            <a:chExt cx="306910" cy="306910"/>
          </a:xfrm>
        </p:grpSpPr>
        <p:sp>
          <p:nvSpPr>
            <p:cNvPr id="14" name="Oval 13">
              <a:extLst>
                <a:ext uri="{FF2B5EF4-FFF2-40B4-BE49-F238E27FC236}">
                  <a16:creationId xmlns:a16="http://schemas.microsoft.com/office/drawing/2014/main" id="{48A562C6-1414-4452-8A3C-523879D53CFA}"/>
                </a:ext>
              </a:extLst>
            </p:cNvPr>
            <p:cNvSpPr>
              <a:spLocks noChangeArrowheads="1"/>
            </p:cNvSpPr>
            <p:nvPr/>
          </p:nvSpPr>
          <p:spPr bwMode="auto">
            <a:xfrm>
              <a:off x="7420016" y="1889334"/>
              <a:ext cx="306910" cy="306910"/>
            </a:xfrm>
            <a:prstGeom prst="ellipse">
              <a:avLst/>
            </a:prstGeom>
            <a:solidFill>
              <a:srgbClr val="FFFFFF"/>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sp>
          <p:nvSpPr>
            <p:cNvPr id="15" name="Freeform 17">
              <a:extLst>
                <a:ext uri="{FF2B5EF4-FFF2-40B4-BE49-F238E27FC236}">
                  <a16:creationId xmlns:a16="http://schemas.microsoft.com/office/drawing/2014/main" id="{0B645988-95FA-4DD7-8439-33B6E5734508}"/>
                </a:ext>
              </a:extLst>
            </p:cNvPr>
            <p:cNvSpPr>
              <a:spLocks/>
            </p:cNvSpPr>
            <p:nvPr/>
          </p:nvSpPr>
          <p:spPr bwMode="auto">
            <a:xfrm>
              <a:off x="7497647" y="1968770"/>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grpSp>
      <p:sp>
        <p:nvSpPr>
          <p:cNvPr id="13" name="TextBox 12">
            <a:extLst>
              <a:ext uri="{FF2B5EF4-FFF2-40B4-BE49-F238E27FC236}">
                <a16:creationId xmlns:a16="http://schemas.microsoft.com/office/drawing/2014/main" id="{4B82E908-7964-4616-AFB2-5EA1BF364FCC}"/>
              </a:ext>
            </a:extLst>
          </p:cNvPr>
          <p:cNvSpPr txBox="1"/>
          <p:nvPr/>
        </p:nvSpPr>
        <p:spPr>
          <a:xfrm>
            <a:off x="1954615" y="2122532"/>
            <a:ext cx="2371162" cy="338554"/>
          </a:xfrm>
          <a:prstGeom prst="rect">
            <a:avLst/>
          </a:prstGeom>
          <a:noFill/>
        </p:spPr>
        <p:txBody>
          <a:bodyPr wrap="none" rtlCol="0">
            <a:spAutoFit/>
          </a:bodyPr>
          <a:lstStyle/>
          <a:p>
            <a:r>
              <a:rPr kumimoji="1" lang="en-US" altLang="ja-JP" sz="1600" dirty="0"/>
              <a:t>: </a:t>
            </a:r>
            <a:r>
              <a:rPr lang="ja-JP" altLang="en-US" sz="1600" dirty="0"/>
              <a:t>満たすことが望ましい</a:t>
            </a:r>
            <a:r>
              <a:rPr kumimoji="1" lang="ja-JP" altLang="en-US" sz="1600" dirty="0"/>
              <a:t>要件</a:t>
            </a:r>
            <a:endParaRPr kumimoji="1" lang="en-US" sz="1600" dirty="0"/>
          </a:p>
        </p:txBody>
      </p:sp>
      <p:grpSp>
        <p:nvGrpSpPr>
          <p:cNvPr id="16" name="Group 15">
            <a:extLst>
              <a:ext uri="{FF2B5EF4-FFF2-40B4-BE49-F238E27FC236}">
                <a16:creationId xmlns:a16="http://schemas.microsoft.com/office/drawing/2014/main" id="{B89BCD60-83A8-4EA3-A1B1-4E639D9D4CE8}"/>
              </a:ext>
            </a:extLst>
          </p:cNvPr>
          <p:cNvGrpSpPr/>
          <p:nvPr/>
        </p:nvGrpSpPr>
        <p:grpSpPr>
          <a:xfrm>
            <a:off x="161925" y="2122532"/>
            <a:ext cx="1427730" cy="338554"/>
            <a:chOff x="5038203" y="1600374"/>
            <a:chExt cx="1427730" cy="338554"/>
          </a:xfrm>
        </p:grpSpPr>
        <p:grpSp>
          <p:nvGrpSpPr>
            <p:cNvPr id="17" name="Group 16">
              <a:extLst>
                <a:ext uri="{FF2B5EF4-FFF2-40B4-BE49-F238E27FC236}">
                  <a16:creationId xmlns:a16="http://schemas.microsoft.com/office/drawing/2014/main" id="{937C45A8-9D43-4372-9091-7749AC2E8D98}"/>
                </a:ext>
              </a:extLst>
            </p:cNvPr>
            <p:cNvGrpSpPr>
              <a:grpSpLocks noChangeAspect="1"/>
            </p:cNvGrpSpPr>
            <p:nvPr/>
          </p:nvGrpSpPr>
          <p:grpSpPr>
            <a:xfrm>
              <a:off x="5038203" y="1612177"/>
              <a:ext cx="306910" cy="306910"/>
              <a:chOff x="4843364" y="3319364"/>
              <a:chExt cx="219273" cy="219273"/>
            </a:xfrm>
          </p:grpSpPr>
          <p:sp>
            <p:nvSpPr>
              <p:cNvPr id="19" name="Oval 18">
                <a:extLst>
                  <a:ext uri="{FF2B5EF4-FFF2-40B4-BE49-F238E27FC236}">
                    <a16:creationId xmlns:a16="http://schemas.microsoft.com/office/drawing/2014/main" id="{8BA1A92B-8CA7-4E53-A86D-79D93A5A32A0}"/>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20" name="Freeform 17">
                <a:extLst>
                  <a:ext uri="{FF2B5EF4-FFF2-40B4-BE49-F238E27FC236}">
                    <a16:creationId xmlns:a16="http://schemas.microsoft.com/office/drawing/2014/main" id="{BFAD0E5D-46E8-4CD2-88AA-9CC714A3FD1B}"/>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sp>
          <p:nvSpPr>
            <p:cNvPr id="18" name="TextBox 17">
              <a:extLst>
                <a:ext uri="{FF2B5EF4-FFF2-40B4-BE49-F238E27FC236}">
                  <a16:creationId xmlns:a16="http://schemas.microsoft.com/office/drawing/2014/main" id="{68208AFA-0D7F-4F10-86FF-B8E45017ECCB}"/>
                </a:ext>
              </a:extLst>
            </p:cNvPr>
            <p:cNvSpPr txBox="1"/>
            <p:nvPr/>
          </p:nvSpPr>
          <p:spPr>
            <a:xfrm>
              <a:off x="5345113" y="1600374"/>
              <a:ext cx="1120820" cy="338554"/>
            </a:xfrm>
            <a:prstGeom prst="rect">
              <a:avLst/>
            </a:prstGeom>
            <a:noFill/>
          </p:spPr>
          <p:txBody>
            <a:bodyPr wrap="none" rtlCol="0">
              <a:spAutoFit/>
            </a:bodyPr>
            <a:lstStyle/>
            <a:p>
              <a:r>
                <a:rPr kumimoji="1" lang="en-US" altLang="ja-JP" sz="1600" dirty="0"/>
                <a:t>: </a:t>
              </a:r>
              <a:r>
                <a:rPr kumimoji="1" lang="ja-JP" altLang="en-US" sz="1600" dirty="0"/>
                <a:t>必須要件</a:t>
              </a:r>
              <a:endParaRPr kumimoji="1" lang="en-US" sz="1600" dirty="0"/>
            </a:p>
          </p:txBody>
        </p:sp>
      </p:grpSp>
      <p:sp>
        <p:nvSpPr>
          <p:cNvPr id="38" name="Rectangle 37">
            <a:extLst>
              <a:ext uri="{FF2B5EF4-FFF2-40B4-BE49-F238E27FC236}">
                <a16:creationId xmlns:a16="http://schemas.microsoft.com/office/drawing/2014/main" id="{A595E737-1D23-4F07-BE17-C2CF1CAAAED6}"/>
              </a:ext>
            </a:extLst>
          </p:cNvPr>
          <p:cNvSpPr/>
          <p:nvPr/>
        </p:nvSpPr>
        <p:spPr>
          <a:xfrm>
            <a:off x="1662159" y="6039293"/>
            <a:ext cx="1577976" cy="75491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endParaRPr lang="en-US" altLang="ja-JP" sz="1800" dirty="0">
              <a:solidFill>
                <a:srgbClr val="295E7E"/>
              </a:solidFill>
              <a:latin typeface="Trebuchet MS" panose="020B0603020202020204" pitchFamily="34" charset="0"/>
              <a:ea typeface="Meiryo UI" panose="020B0604030504040204" pitchFamily="50" charset="-128"/>
            </a:endParaRPr>
          </a:p>
        </p:txBody>
      </p:sp>
      <p:grpSp>
        <p:nvGrpSpPr>
          <p:cNvPr id="53" name="Group 52">
            <a:extLst>
              <a:ext uri="{FF2B5EF4-FFF2-40B4-BE49-F238E27FC236}">
                <a16:creationId xmlns:a16="http://schemas.microsoft.com/office/drawing/2014/main" id="{54AFF90C-6818-4D11-95BF-C473BDE58002}"/>
              </a:ext>
            </a:extLst>
          </p:cNvPr>
          <p:cNvGrpSpPr/>
          <p:nvPr/>
        </p:nvGrpSpPr>
        <p:grpSpPr>
          <a:xfrm>
            <a:off x="1662159" y="6039293"/>
            <a:ext cx="1577976" cy="754912"/>
            <a:chOff x="-2238784" y="6088176"/>
            <a:chExt cx="1577976" cy="1071579"/>
          </a:xfrm>
        </p:grpSpPr>
        <p:grpSp>
          <p:nvGrpSpPr>
            <p:cNvPr id="39" name="Group 38">
              <a:extLst>
                <a:ext uri="{FF2B5EF4-FFF2-40B4-BE49-F238E27FC236}">
                  <a16:creationId xmlns:a16="http://schemas.microsoft.com/office/drawing/2014/main" id="{2851BCAC-F949-4CE3-8742-4E70588E6273}"/>
                </a:ext>
              </a:extLst>
            </p:cNvPr>
            <p:cNvGrpSpPr/>
            <p:nvPr/>
          </p:nvGrpSpPr>
          <p:grpSpPr>
            <a:xfrm>
              <a:off x="-1915291" y="6105721"/>
              <a:ext cx="930990" cy="932398"/>
              <a:chOff x="-897774" y="5667234"/>
              <a:chExt cx="1123838" cy="1125538"/>
            </a:xfrm>
          </p:grpSpPr>
          <p:sp>
            <p:nvSpPr>
              <p:cNvPr id="49" name="Freeform 16">
                <a:extLst>
                  <a:ext uri="{FF2B5EF4-FFF2-40B4-BE49-F238E27FC236}">
                    <a16:creationId xmlns:a16="http://schemas.microsoft.com/office/drawing/2014/main" id="{8B8B2F59-624A-45F1-ADDE-FC5573A9EDB4}"/>
                  </a:ext>
                </a:extLst>
              </p:cNvPr>
              <p:cNvSpPr>
                <a:spLocks/>
              </p:cNvSpPr>
              <p:nvPr/>
            </p:nvSpPr>
            <p:spPr bwMode="auto">
              <a:xfrm>
                <a:off x="-553287" y="5667234"/>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295E7E"/>
                  </a:solidFill>
                </a:endParaRPr>
              </a:p>
            </p:txBody>
          </p:sp>
          <p:sp>
            <p:nvSpPr>
              <p:cNvPr id="50" name="Freeform 17">
                <a:extLst>
                  <a:ext uri="{FF2B5EF4-FFF2-40B4-BE49-F238E27FC236}">
                    <a16:creationId xmlns:a16="http://schemas.microsoft.com/office/drawing/2014/main" id="{A0FB76F3-4867-4519-884B-3E7EF742BD5D}"/>
                  </a:ext>
                </a:extLst>
              </p:cNvPr>
              <p:cNvSpPr>
                <a:spLocks/>
              </p:cNvSpPr>
              <p:nvPr/>
            </p:nvSpPr>
            <p:spPr bwMode="auto">
              <a:xfrm>
                <a:off x="-897774" y="6251434"/>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noAutofit/>
              </a:bodyPr>
              <a:lstStyle/>
              <a:p>
                <a:endParaRPr lang="en-US" dirty="0">
                  <a:solidFill>
                    <a:srgbClr val="295E7E"/>
                  </a:solidFill>
                </a:endParaRPr>
              </a:p>
            </p:txBody>
          </p:sp>
        </p:grpSp>
        <p:sp>
          <p:nvSpPr>
            <p:cNvPr id="44" name="Rectangle 43">
              <a:extLst>
                <a:ext uri="{FF2B5EF4-FFF2-40B4-BE49-F238E27FC236}">
                  <a16:creationId xmlns:a16="http://schemas.microsoft.com/office/drawing/2014/main" id="{74C3A5F1-C81A-4FDC-BB59-574B92A40B63}"/>
                </a:ext>
              </a:extLst>
            </p:cNvPr>
            <p:cNvSpPr/>
            <p:nvPr/>
          </p:nvSpPr>
          <p:spPr>
            <a:xfrm>
              <a:off x="-2238784" y="6088176"/>
              <a:ext cx="1577976" cy="10715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9C8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r>
                <a:rPr kumimoji="1" lang="ja-JP" altLang="en-US" dirty="0">
                  <a:solidFill>
                    <a:srgbClr val="295E7E"/>
                  </a:solidFill>
                  <a:latin typeface="Trebuchet MS" panose="020B0603020202020204" pitchFamily="34" charset="0"/>
                  <a:ea typeface="Meiryo UI" panose="020B0604030504040204" pitchFamily="50" charset="-128"/>
                </a:rPr>
                <a:t>消費者の</a:t>
              </a:r>
              <a:br>
                <a:rPr kumimoji="1" lang="en-US" altLang="ja-JP" dirty="0">
                  <a:solidFill>
                    <a:srgbClr val="295E7E"/>
                  </a:solidFill>
                  <a:latin typeface="Trebuchet MS" panose="020B0603020202020204" pitchFamily="34" charset="0"/>
                  <a:ea typeface="Meiryo UI" panose="020B0604030504040204" pitchFamily="50" charset="-128"/>
                </a:rPr>
              </a:br>
              <a:r>
                <a:rPr kumimoji="1" lang="ja-JP" altLang="en-US" dirty="0">
                  <a:solidFill>
                    <a:srgbClr val="295E7E"/>
                  </a:solidFill>
                  <a:latin typeface="Trebuchet MS" panose="020B0603020202020204" pitchFamily="34" charset="0"/>
                  <a:ea typeface="Meiryo UI" panose="020B0604030504040204" pitchFamily="50" charset="-128"/>
                </a:rPr>
                <a:t>行動変容</a:t>
              </a:r>
              <a:endParaRPr lang="en-US" altLang="ja-JP" sz="1800" dirty="0">
                <a:solidFill>
                  <a:srgbClr val="295E7E"/>
                </a:solidFill>
                <a:latin typeface="Trebuchet MS" panose="020B0603020202020204" pitchFamily="34" charset="0"/>
                <a:ea typeface="Meiryo UI" panose="020B0604030504040204" pitchFamily="50" charset="-128"/>
              </a:endParaRPr>
            </a:p>
          </p:txBody>
        </p:sp>
      </p:grpSp>
      <p:sp>
        <p:nvSpPr>
          <p:cNvPr id="5" name="Rectangle 4">
            <a:extLst>
              <a:ext uri="{FF2B5EF4-FFF2-40B4-BE49-F238E27FC236}">
                <a16:creationId xmlns:a16="http://schemas.microsoft.com/office/drawing/2014/main" id="{93BF0B46-5039-4E3E-8320-BD7011FEF503}"/>
              </a:ext>
            </a:extLst>
          </p:cNvPr>
          <p:cNvSpPr/>
          <p:nvPr/>
        </p:nvSpPr>
        <p:spPr>
          <a:xfrm>
            <a:off x="1662159" y="5031151"/>
            <a:ext cx="1577976" cy="10635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endParaRPr lang="en-US" altLang="ja-JP" sz="1800" dirty="0">
              <a:solidFill>
                <a:srgbClr val="295E7E"/>
              </a:solidFill>
              <a:latin typeface="Trebuchet MS" panose="020B0603020202020204" pitchFamily="34" charset="0"/>
              <a:ea typeface="Meiryo UI" panose="020B0604030504040204" pitchFamily="50" charset="-128"/>
            </a:endParaRPr>
          </a:p>
        </p:txBody>
      </p:sp>
      <p:grpSp>
        <p:nvGrpSpPr>
          <p:cNvPr id="101" name="Group 100">
            <a:extLst>
              <a:ext uri="{FF2B5EF4-FFF2-40B4-BE49-F238E27FC236}">
                <a16:creationId xmlns:a16="http://schemas.microsoft.com/office/drawing/2014/main" id="{C1428192-AD0C-4C14-9EE8-BD09662D6822}"/>
              </a:ext>
            </a:extLst>
          </p:cNvPr>
          <p:cNvGrpSpPr/>
          <p:nvPr/>
        </p:nvGrpSpPr>
        <p:grpSpPr>
          <a:xfrm>
            <a:off x="1662159" y="5033365"/>
            <a:ext cx="1577976" cy="933805"/>
            <a:chOff x="176379" y="4056589"/>
            <a:chExt cx="1577976" cy="1659347"/>
          </a:xfrm>
        </p:grpSpPr>
        <p:grpSp>
          <p:nvGrpSpPr>
            <p:cNvPr id="33" name="Group 32">
              <a:extLst>
                <a:ext uri="{FF2B5EF4-FFF2-40B4-BE49-F238E27FC236}">
                  <a16:creationId xmlns:a16="http://schemas.microsoft.com/office/drawing/2014/main" id="{447A45F3-DFAA-4468-9DE7-DB35EF6FB6DB}"/>
                </a:ext>
              </a:extLst>
            </p:cNvPr>
            <p:cNvGrpSpPr/>
            <p:nvPr/>
          </p:nvGrpSpPr>
          <p:grpSpPr>
            <a:xfrm>
              <a:off x="244508" y="4165403"/>
              <a:ext cx="1441718" cy="1441718"/>
              <a:chOff x="-1294670" y="2362734"/>
              <a:chExt cx="1644650" cy="1644650"/>
            </a:xfrm>
          </p:grpSpPr>
          <p:sp>
            <p:nvSpPr>
              <p:cNvPr id="34" name="AutoShape 3">
                <a:extLst>
                  <a:ext uri="{FF2B5EF4-FFF2-40B4-BE49-F238E27FC236}">
                    <a16:creationId xmlns:a16="http://schemas.microsoft.com/office/drawing/2014/main" id="{301BC57E-A8B8-48A8-8CBA-F3BA2E086E05}"/>
                  </a:ext>
                </a:extLst>
              </p:cNvPr>
              <p:cNvSpPr>
                <a:spLocks noChangeAspect="1" noChangeArrowheads="1" noTextEdit="1"/>
              </p:cNvSpPr>
              <p:nvPr/>
            </p:nvSpPr>
            <p:spPr bwMode="auto">
              <a:xfrm>
                <a:off x="-1294670" y="2362734"/>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95E7E"/>
                  </a:solidFill>
                </a:endParaRPr>
              </a:p>
            </p:txBody>
          </p:sp>
          <p:sp>
            <p:nvSpPr>
              <p:cNvPr id="35" name="Freeform 13">
                <a:extLst>
                  <a:ext uri="{FF2B5EF4-FFF2-40B4-BE49-F238E27FC236}">
                    <a16:creationId xmlns:a16="http://schemas.microsoft.com/office/drawing/2014/main" id="{9D7B3D17-AD25-47C1-A026-CD064B70F295}"/>
                  </a:ext>
                </a:extLst>
              </p:cNvPr>
              <p:cNvSpPr>
                <a:spLocks/>
              </p:cNvSpPr>
              <p:nvPr/>
            </p:nvSpPr>
            <p:spPr bwMode="auto">
              <a:xfrm>
                <a:off x="-443770" y="2684997"/>
                <a:ext cx="436563" cy="1000125"/>
              </a:xfrm>
              <a:custGeom>
                <a:avLst/>
                <a:gdLst>
                  <a:gd name="connsiteX0" fmla="*/ 436563 w 436563"/>
                  <a:gd name="connsiteY0" fmla="*/ 579437 h 1000125"/>
                  <a:gd name="connsiteX1" fmla="*/ 436563 w 436563"/>
                  <a:gd name="connsiteY1" fmla="*/ 862277 h 1000125"/>
                  <a:gd name="connsiteX2" fmla="*/ 436563 w 436563"/>
                  <a:gd name="connsiteY2" fmla="*/ 929415 h 1000125"/>
                  <a:gd name="connsiteX3" fmla="*/ 433715 w 436563"/>
                  <a:gd name="connsiteY3" fmla="*/ 930844 h 1000125"/>
                  <a:gd name="connsiteX4" fmla="*/ 418047 w 436563"/>
                  <a:gd name="connsiteY4" fmla="*/ 928701 h 1000125"/>
                  <a:gd name="connsiteX5" fmla="*/ 367482 w 436563"/>
                  <a:gd name="connsiteY5" fmla="*/ 980126 h 1000125"/>
                  <a:gd name="connsiteX6" fmla="*/ 370331 w 436563"/>
                  <a:gd name="connsiteY6" fmla="*/ 997268 h 1000125"/>
                  <a:gd name="connsiteX7" fmla="*/ 368194 w 436563"/>
                  <a:gd name="connsiteY7" fmla="*/ 1000125 h 1000125"/>
                  <a:gd name="connsiteX8" fmla="*/ 66945 w 436563"/>
                  <a:gd name="connsiteY8" fmla="*/ 1000125 h 1000125"/>
                  <a:gd name="connsiteX9" fmla="*/ 64808 w 436563"/>
                  <a:gd name="connsiteY9" fmla="*/ 997268 h 1000125"/>
                  <a:gd name="connsiteX10" fmla="*/ 68369 w 436563"/>
                  <a:gd name="connsiteY10" fmla="*/ 980126 h 1000125"/>
                  <a:gd name="connsiteX11" fmla="*/ 17092 w 436563"/>
                  <a:gd name="connsiteY11" fmla="*/ 928701 h 1000125"/>
                  <a:gd name="connsiteX12" fmla="*/ 2137 w 436563"/>
                  <a:gd name="connsiteY12" fmla="*/ 930844 h 1000125"/>
                  <a:gd name="connsiteX13" fmla="*/ 0 w 436563"/>
                  <a:gd name="connsiteY13" fmla="*/ 928701 h 1000125"/>
                  <a:gd name="connsiteX14" fmla="*/ 0 w 436563"/>
                  <a:gd name="connsiteY14" fmla="*/ 862277 h 1000125"/>
                  <a:gd name="connsiteX15" fmla="*/ 0 w 436563"/>
                  <a:gd name="connsiteY15" fmla="*/ 762283 h 1000125"/>
                  <a:gd name="connsiteX16" fmla="*/ 121070 w 436563"/>
                  <a:gd name="connsiteY16" fmla="*/ 827279 h 1000125"/>
                  <a:gd name="connsiteX17" fmla="*/ 194424 w 436563"/>
                  <a:gd name="connsiteY17" fmla="*/ 846563 h 1000125"/>
                  <a:gd name="connsiteX18" fmla="*/ 292704 w 436563"/>
                  <a:gd name="connsiteY18" fmla="*/ 802280 h 1000125"/>
                  <a:gd name="connsiteX19" fmla="*/ 324752 w 436563"/>
                  <a:gd name="connsiteY19" fmla="*/ 763711 h 1000125"/>
                  <a:gd name="connsiteX20" fmla="*/ 330449 w 436563"/>
                  <a:gd name="connsiteY20" fmla="*/ 752283 h 1000125"/>
                  <a:gd name="connsiteX21" fmla="*/ 319767 w 436563"/>
                  <a:gd name="connsiteY21" fmla="*/ 730142 h 1000125"/>
                  <a:gd name="connsiteX22" fmla="*/ 212228 w 436563"/>
                  <a:gd name="connsiteY22" fmla="*/ 666575 h 1000125"/>
                  <a:gd name="connsiteX23" fmla="*/ 217926 w 436563"/>
                  <a:gd name="connsiteY23" fmla="*/ 666575 h 1000125"/>
                  <a:gd name="connsiteX24" fmla="*/ 436563 w 436563"/>
                  <a:gd name="connsiteY24" fmla="*/ 579437 h 1000125"/>
                  <a:gd name="connsiteX25" fmla="*/ 67657 w 436563"/>
                  <a:gd name="connsiteY25" fmla="*/ 0 h 1000125"/>
                  <a:gd name="connsiteX26" fmla="*/ 367482 w 436563"/>
                  <a:gd name="connsiteY26" fmla="*/ 0 h 1000125"/>
                  <a:gd name="connsiteX27" fmla="*/ 369619 w 436563"/>
                  <a:gd name="connsiteY27" fmla="*/ 3571 h 1000125"/>
                  <a:gd name="connsiteX28" fmla="*/ 367482 w 436563"/>
                  <a:gd name="connsiteY28" fmla="*/ 19285 h 1000125"/>
                  <a:gd name="connsiteX29" fmla="*/ 418047 w 436563"/>
                  <a:gd name="connsiteY29" fmla="*/ 70710 h 1000125"/>
                  <a:gd name="connsiteX30" fmla="*/ 433715 w 436563"/>
                  <a:gd name="connsiteY30" fmla="*/ 68567 h 1000125"/>
                  <a:gd name="connsiteX31" fmla="*/ 435139 w 436563"/>
                  <a:gd name="connsiteY31" fmla="*/ 68567 h 1000125"/>
                  <a:gd name="connsiteX32" fmla="*/ 435851 w 436563"/>
                  <a:gd name="connsiteY32" fmla="*/ 68567 h 1000125"/>
                  <a:gd name="connsiteX33" fmla="*/ 436563 w 436563"/>
                  <a:gd name="connsiteY33" fmla="*/ 69282 h 1000125"/>
                  <a:gd name="connsiteX34" fmla="*/ 436563 w 436563"/>
                  <a:gd name="connsiteY34" fmla="*/ 69996 h 1000125"/>
                  <a:gd name="connsiteX35" fmla="*/ 436563 w 436563"/>
                  <a:gd name="connsiteY35" fmla="*/ 325694 h 1000125"/>
                  <a:gd name="connsiteX36" fmla="*/ 436563 w 436563"/>
                  <a:gd name="connsiteY36" fmla="*/ 420688 h 1000125"/>
                  <a:gd name="connsiteX37" fmla="*/ 229320 w 436563"/>
                  <a:gd name="connsiteY37" fmla="*/ 333551 h 1000125"/>
                  <a:gd name="connsiteX38" fmla="*/ 217926 w 436563"/>
                  <a:gd name="connsiteY38" fmla="*/ 333551 h 1000125"/>
                  <a:gd name="connsiteX39" fmla="*/ 96144 w 436563"/>
                  <a:gd name="connsiteY39" fmla="*/ 354978 h 1000125"/>
                  <a:gd name="connsiteX40" fmla="*/ 19229 w 436563"/>
                  <a:gd name="connsiteY40" fmla="*/ 399975 h 1000125"/>
                  <a:gd name="connsiteX41" fmla="*/ 0 w 436563"/>
                  <a:gd name="connsiteY41" fmla="*/ 420688 h 1000125"/>
                  <a:gd name="connsiteX42" fmla="*/ 0 w 436563"/>
                  <a:gd name="connsiteY42" fmla="*/ 411403 h 1000125"/>
                  <a:gd name="connsiteX43" fmla="*/ 0 w 436563"/>
                  <a:gd name="connsiteY43" fmla="*/ 393547 h 1000125"/>
                  <a:gd name="connsiteX44" fmla="*/ 0 w 436563"/>
                  <a:gd name="connsiteY44" fmla="*/ 374977 h 1000125"/>
                  <a:gd name="connsiteX45" fmla="*/ 0 w 436563"/>
                  <a:gd name="connsiteY45" fmla="*/ 339979 h 1000125"/>
                  <a:gd name="connsiteX46" fmla="*/ 0 w 436563"/>
                  <a:gd name="connsiteY46" fmla="*/ 325694 h 1000125"/>
                  <a:gd name="connsiteX47" fmla="*/ 0 w 436563"/>
                  <a:gd name="connsiteY47" fmla="*/ 322123 h 1000125"/>
                  <a:gd name="connsiteX48" fmla="*/ 0 w 436563"/>
                  <a:gd name="connsiteY48" fmla="*/ 304267 h 1000125"/>
                  <a:gd name="connsiteX49" fmla="*/ 0 w 436563"/>
                  <a:gd name="connsiteY49" fmla="*/ 249270 h 1000125"/>
                  <a:gd name="connsiteX50" fmla="*/ 0 w 436563"/>
                  <a:gd name="connsiteY50" fmla="*/ 70710 h 1000125"/>
                  <a:gd name="connsiteX51" fmla="*/ 2137 w 436563"/>
                  <a:gd name="connsiteY51" fmla="*/ 68567 h 1000125"/>
                  <a:gd name="connsiteX52" fmla="*/ 17092 w 436563"/>
                  <a:gd name="connsiteY52" fmla="*/ 70710 h 1000125"/>
                  <a:gd name="connsiteX53" fmla="*/ 68369 w 436563"/>
                  <a:gd name="connsiteY53" fmla="*/ 19285 h 1000125"/>
                  <a:gd name="connsiteX54" fmla="*/ 65520 w 436563"/>
                  <a:gd name="connsiteY54" fmla="*/ 3571 h 1000125"/>
                  <a:gd name="connsiteX55" fmla="*/ 67657 w 436563"/>
                  <a:gd name="connsiteY55" fmla="*/ 0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6563" h="1000125">
                    <a:moveTo>
                      <a:pt x="436563" y="579437"/>
                    </a:moveTo>
                    <a:cubicBezTo>
                      <a:pt x="436563" y="579437"/>
                      <a:pt x="436563" y="579437"/>
                      <a:pt x="436563" y="862277"/>
                    </a:cubicBezTo>
                    <a:cubicBezTo>
                      <a:pt x="436563" y="882990"/>
                      <a:pt x="436563" y="905131"/>
                      <a:pt x="436563" y="929415"/>
                    </a:cubicBezTo>
                    <a:cubicBezTo>
                      <a:pt x="436563" y="930844"/>
                      <a:pt x="435851" y="931558"/>
                      <a:pt x="433715" y="930844"/>
                    </a:cubicBezTo>
                    <a:cubicBezTo>
                      <a:pt x="428729" y="929415"/>
                      <a:pt x="423744" y="928701"/>
                      <a:pt x="418047" y="928701"/>
                    </a:cubicBezTo>
                    <a:cubicBezTo>
                      <a:pt x="389560" y="928701"/>
                      <a:pt x="367482" y="951557"/>
                      <a:pt x="367482" y="980126"/>
                    </a:cubicBezTo>
                    <a:cubicBezTo>
                      <a:pt x="367482" y="985840"/>
                      <a:pt x="368194" y="992268"/>
                      <a:pt x="370331" y="997268"/>
                    </a:cubicBezTo>
                    <a:cubicBezTo>
                      <a:pt x="371043" y="998697"/>
                      <a:pt x="369619" y="1000125"/>
                      <a:pt x="368194" y="1000125"/>
                    </a:cubicBezTo>
                    <a:cubicBezTo>
                      <a:pt x="368194" y="1000125"/>
                      <a:pt x="368194" y="1000125"/>
                      <a:pt x="66945" y="1000125"/>
                    </a:cubicBezTo>
                    <a:cubicBezTo>
                      <a:pt x="65520" y="1000125"/>
                      <a:pt x="64096" y="998697"/>
                      <a:pt x="64808" y="997268"/>
                    </a:cubicBezTo>
                    <a:cubicBezTo>
                      <a:pt x="66945" y="992268"/>
                      <a:pt x="68369" y="985840"/>
                      <a:pt x="68369" y="980126"/>
                    </a:cubicBezTo>
                    <a:cubicBezTo>
                      <a:pt x="68369" y="951557"/>
                      <a:pt x="45579" y="928701"/>
                      <a:pt x="17092" y="928701"/>
                    </a:cubicBezTo>
                    <a:cubicBezTo>
                      <a:pt x="12107" y="928701"/>
                      <a:pt x="7122" y="929415"/>
                      <a:pt x="2137" y="930844"/>
                    </a:cubicBezTo>
                    <a:cubicBezTo>
                      <a:pt x="1425" y="930844"/>
                      <a:pt x="0" y="930130"/>
                      <a:pt x="0" y="928701"/>
                    </a:cubicBezTo>
                    <a:cubicBezTo>
                      <a:pt x="0" y="928701"/>
                      <a:pt x="0" y="928701"/>
                      <a:pt x="0" y="862277"/>
                    </a:cubicBezTo>
                    <a:cubicBezTo>
                      <a:pt x="0" y="862277"/>
                      <a:pt x="0" y="862277"/>
                      <a:pt x="0" y="762283"/>
                    </a:cubicBezTo>
                    <a:cubicBezTo>
                      <a:pt x="58399" y="793709"/>
                      <a:pt x="105402" y="817994"/>
                      <a:pt x="121070" y="827279"/>
                    </a:cubicBezTo>
                    <a:cubicBezTo>
                      <a:pt x="145284" y="840135"/>
                      <a:pt x="169498" y="846563"/>
                      <a:pt x="194424" y="846563"/>
                    </a:cubicBezTo>
                    <a:cubicBezTo>
                      <a:pt x="239291" y="846563"/>
                      <a:pt x="274900" y="823708"/>
                      <a:pt x="292704" y="802280"/>
                    </a:cubicBezTo>
                    <a:cubicBezTo>
                      <a:pt x="292704" y="802280"/>
                      <a:pt x="292704" y="802280"/>
                      <a:pt x="324752" y="763711"/>
                    </a:cubicBezTo>
                    <a:cubicBezTo>
                      <a:pt x="327601" y="760854"/>
                      <a:pt x="329737" y="757283"/>
                      <a:pt x="330449" y="752283"/>
                    </a:cubicBezTo>
                    <a:cubicBezTo>
                      <a:pt x="331874" y="742998"/>
                      <a:pt x="327601" y="734427"/>
                      <a:pt x="319767" y="730142"/>
                    </a:cubicBezTo>
                    <a:cubicBezTo>
                      <a:pt x="319767" y="730142"/>
                      <a:pt x="319767" y="730142"/>
                      <a:pt x="212228" y="666575"/>
                    </a:cubicBezTo>
                    <a:cubicBezTo>
                      <a:pt x="214365" y="666575"/>
                      <a:pt x="215789" y="666575"/>
                      <a:pt x="217926" y="666575"/>
                    </a:cubicBezTo>
                    <a:cubicBezTo>
                      <a:pt x="312645" y="666575"/>
                      <a:pt x="394545" y="631577"/>
                      <a:pt x="436563" y="579437"/>
                    </a:cubicBezTo>
                    <a:close/>
                    <a:moveTo>
                      <a:pt x="67657" y="0"/>
                    </a:moveTo>
                    <a:cubicBezTo>
                      <a:pt x="67657" y="0"/>
                      <a:pt x="67657" y="0"/>
                      <a:pt x="367482" y="0"/>
                    </a:cubicBezTo>
                    <a:cubicBezTo>
                      <a:pt x="369619" y="0"/>
                      <a:pt x="370331" y="1429"/>
                      <a:pt x="369619" y="3571"/>
                    </a:cubicBezTo>
                    <a:cubicBezTo>
                      <a:pt x="368194" y="7857"/>
                      <a:pt x="367482" y="13571"/>
                      <a:pt x="367482" y="19285"/>
                    </a:cubicBezTo>
                    <a:cubicBezTo>
                      <a:pt x="367482" y="47854"/>
                      <a:pt x="389560" y="70710"/>
                      <a:pt x="418047" y="70710"/>
                    </a:cubicBezTo>
                    <a:cubicBezTo>
                      <a:pt x="423744" y="70710"/>
                      <a:pt x="428729" y="69996"/>
                      <a:pt x="433715" y="68567"/>
                    </a:cubicBezTo>
                    <a:cubicBezTo>
                      <a:pt x="434427" y="68567"/>
                      <a:pt x="434427" y="68567"/>
                      <a:pt x="435139" y="68567"/>
                    </a:cubicBezTo>
                    <a:cubicBezTo>
                      <a:pt x="435851" y="68567"/>
                      <a:pt x="435851" y="68567"/>
                      <a:pt x="435851" y="68567"/>
                    </a:cubicBezTo>
                    <a:cubicBezTo>
                      <a:pt x="435851" y="68567"/>
                      <a:pt x="436563" y="68567"/>
                      <a:pt x="436563" y="69282"/>
                    </a:cubicBezTo>
                    <a:cubicBezTo>
                      <a:pt x="436563" y="69996"/>
                      <a:pt x="436563" y="69996"/>
                      <a:pt x="436563" y="69996"/>
                    </a:cubicBezTo>
                    <a:cubicBezTo>
                      <a:pt x="436563" y="69996"/>
                      <a:pt x="436563" y="69996"/>
                      <a:pt x="436563" y="325694"/>
                    </a:cubicBezTo>
                    <a:cubicBezTo>
                      <a:pt x="436563" y="354264"/>
                      <a:pt x="436563" y="385690"/>
                      <a:pt x="436563" y="420688"/>
                    </a:cubicBezTo>
                    <a:cubicBezTo>
                      <a:pt x="395969" y="370691"/>
                      <a:pt x="319054" y="336408"/>
                      <a:pt x="229320" y="333551"/>
                    </a:cubicBezTo>
                    <a:cubicBezTo>
                      <a:pt x="225760" y="333551"/>
                      <a:pt x="222199" y="333551"/>
                      <a:pt x="217926" y="333551"/>
                    </a:cubicBezTo>
                    <a:cubicBezTo>
                      <a:pt x="173771" y="333551"/>
                      <a:pt x="132465" y="341407"/>
                      <a:pt x="96144" y="354978"/>
                    </a:cubicBezTo>
                    <a:cubicBezTo>
                      <a:pt x="66232" y="366406"/>
                      <a:pt x="39882" y="381405"/>
                      <a:pt x="19229" y="399975"/>
                    </a:cubicBezTo>
                    <a:cubicBezTo>
                      <a:pt x="12107" y="406403"/>
                      <a:pt x="5698" y="413546"/>
                      <a:pt x="0" y="420688"/>
                    </a:cubicBezTo>
                    <a:cubicBezTo>
                      <a:pt x="0" y="417831"/>
                      <a:pt x="0" y="414974"/>
                      <a:pt x="0" y="411403"/>
                    </a:cubicBezTo>
                    <a:cubicBezTo>
                      <a:pt x="0" y="406403"/>
                      <a:pt x="0" y="400689"/>
                      <a:pt x="0" y="393547"/>
                    </a:cubicBezTo>
                    <a:cubicBezTo>
                      <a:pt x="0" y="387833"/>
                      <a:pt x="0" y="382119"/>
                      <a:pt x="0" y="374977"/>
                    </a:cubicBezTo>
                    <a:cubicBezTo>
                      <a:pt x="0" y="364977"/>
                      <a:pt x="0" y="353549"/>
                      <a:pt x="0" y="339979"/>
                    </a:cubicBezTo>
                    <a:cubicBezTo>
                      <a:pt x="0" y="335693"/>
                      <a:pt x="0" y="330694"/>
                      <a:pt x="0" y="325694"/>
                    </a:cubicBezTo>
                    <a:cubicBezTo>
                      <a:pt x="0" y="324266"/>
                      <a:pt x="0" y="323551"/>
                      <a:pt x="0" y="322123"/>
                    </a:cubicBezTo>
                    <a:cubicBezTo>
                      <a:pt x="0" y="316409"/>
                      <a:pt x="0" y="310695"/>
                      <a:pt x="0" y="304267"/>
                    </a:cubicBezTo>
                    <a:cubicBezTo>
                      <a:pt x="0" y="287839"/>
                      <a:pt x="0" y="269983"/>
                      <a:pt x="0" y="249270"/>
                    </a:cubicBezTo>
                    <a:cubicBezTo>
                      <a:pt x="0" y="202130"/>
                      <a:pt x="0" y="143563"/>
                      <a:pt x="0" y="70710"/>
                    </a:cubicBezTo>
                    <a:cubicBezTo>
                      <a:pt x="0" y="69282"/>
                      <a:pt x="1425" y="68567"/>
                      <a:pt x="2137" y="68567"/>
                    </a:cubicBezTo>
                    <a:cubicBezTo>
                      <a:pt x="7122" y="69996"/>
                      <a:pt x="12107" y="70710"/>
                      <a:pt x="17092" y="70710"/>
                    </a:cubicBezTo>
                    <a:cubicBezTo>
                      <a:pt x="45579" y="70710"/>
                      <a:pt x="68369" y="47854"/>
                      <a:pt x="68369" y="19285"/>
                    </a:cubicBezTo>
                    <a:cubicBezTo>
                      <a:pt x="68369" y="13571"/>
                      <a:pt x="66945" y="7857"/>
                      <a:pt x="65520" y="3571"/>
                    </a:cubicBezTo>
                    <a:cubicBezTo>
                      <a:pt x="64808" y="1429"/>
                      <a:pt x="66232" y="0"/>
                      <a:pt x="67657" y="0"/>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noAutofit/>
              </a:bodyPr>
              <a:lstStyle/>
              <a:p>
                <a:endParaRPr lang="en-US" dirty="0">
                  <a:solidFill>
                    <a:srgbClr val="295E7E"/>
                  </a:solidFill>
                </a:endParaRPr>
              </a:p>
            </p:txBody>
          </p:sp>
          <p:sp>
            <p:nvSpPr>
              <p:cNvPr id="36" name="Freeform 14">
                <a:extLst>
                  <a:ext uri="{FF2B5EF4-FFF2-40B4-BE49-F238E27FC236}">
                    <a16:creationId xmlns:a16="http://schemas.microsoft.com/office/drawing/2014/main" id="{43EF59FE-9D6F-465D-8635-B6AB1A661C63}"/>
                  </a:ext>
                </a:extLst>
              </p:cNvPr>
              <p:cNvSpPr>
                <a:spLocks/>
              </p:cNvSpPr>
              <p:nvPr/>
            </p:nvSpPr>
            <p:spPr bwMode="auto">
              <a:xfrm>
                <a:off x="-1056545" y="2615147"/>
                <a:ext cx="1111250" cy="1139825"/>
              </a:xfrm>
              <a:custGeom>
                <a:avLst/>
                <a:gdLst>
                  <a:gd name="connsiteX0" fmla="*/ 131325 w 1111250"/>
                  <a:gd name="connsiteY0" fmla="*/ 673100 h 1139825"/>
                  <a:gd name="connsiteX1" fmla="*/ 31750 w 1111250"/>
                  <a:gd name="connsiteY1" fmla="*/ 772319 h 1139825"/>
                  <a:gd name="connsiteX2" fmla="*/ 131325 w 1111250"/>
                  <a:gd name="connsiteY2" fmla="*/ 871538 h 1139825"/>
                  <a:gd name="connsiteX3" fmla="*/ 216675 w 1111250"/>
                  <a:gd name="connsiteY3" fmla="*/ 821572 h 1139825"/>
                  <a:gd name="connsiteX4" fmla="*/ 229477 w 1111250"/>
                  <a:gd name="connsiteY4" fmla="*/ 783026 h 1139825"/>
                  <a:gd name="connsiteX5" fmla="*/ 230188 w 1111250"/>
                  <a:gd name="connsiteY5" fmla="*/ 772319 h 1139825"/>
                  <a:gd name="connsiteX6" fmla="*/ 190358 w 1111250"/>
                  <a:gd name="connsiteY6" fmla="*/ 693087 h 1139825"/>
                  <a:gd name="connsiteX7" fmla="*/ 156930 w 1111250"/>
                  <a:gd name="connsiteY7" fmla="*/ 675955 h 1139825"/>
                  <a:gd name="connsiteX8" fmla="*/ 131325 w 1111250"/>
                  <a:gd name="connsiteY8" fmla="*/ 673100 h 1139825"/>
                  <a:gd name="connsiteX9" fmla="*/ 498232 w 1111250"/>
                  <a:gd name="connsiteY9" fmla="*/ 604837 h 1139825"/>
                  <a:gd name="connsiteX10" fmla="*/ 548910 w 1111250"/>
                  <a:gd name="connsiteY10" fmla="*/ 634832 h 1139825"/>
                  <a:gd name="connsiteX11" fmla="*/ 580316 w 1111250"/>
                  <a:gd name="connsiteY11" fmla="*/ 653400 h 1139825"/>
                  <a:gd name="connsiteX12" fmla="*/ 611723 w 1111250"/>
                  <a:gd name="connsiteY12" fmla="*/ 671254 h 1139825"/>
                  <a:gd name="connsiteX13" fmla="*/ 863687 w 1111250"/>
                  <a:gd name="connsiteY13" fmla="*/ 818371 h 1139825"/>
                  <a:gd name="connsiteX14" fmla="*/ 870824 w 1111250"/>
                  <a:gd name="connsiteY14" fmla="*/ 828369 h 1139825"/>
                  <a:gd name="connsiteX15" fmla="*/ 867256 w 1111250"/>
                  <a:gd name="connsiteY15" fmla="*/ 841224 h 1139825"/>
                  <a:gd name="connsiteX16" fmla="*/ 806584 w 1111250"/>
                  <a:gd name="connsiteY16" fmla="*/ 868362 h 1139825"/>
                  <a:gd name="connsiteX17" fmla="*/ 756620 w 1111250"/>
                  <a:gd name="connsiteY17" fmla="*/ 854079 h 1139825"/>
                  <a:gd name="connsiteX18" fmla="*/ 611723 w 1111250"/>
                  <a:gd name="connsiteY18" fmla="*/ 777664 h 1139825"/>
                  <a:gd name="connsiteX19" fmla="*/ 580316 w 1111250"/>
                  <a:gd name="connsiteY19" fmla="*/ 761238 h 1139825"/>
                  <a:gd name="connsiteX20" fmla="*/ 548910 w 1111250"/>
                  <a:gd name="connsiteY20" fmla="*/ 744812 h 1139825"/>
                  <a:gd name="connsiteX21" fmla="*/ 396875 w 1111250"/>
                  <a:gd name="connsiteY21" fmla="*/ 664827 h 1139825"/>
                  <a:gd name="connsiteX22" fmla="*/ 413292 w 1111250"/>
                  <a:gd name="connsiteY22" fmla="*/ 654828 h 1139825"/>
                  <a:gd name="connsiteX23" fmla="*/ 428995 w 1111250"/>
                  <a:gd name="connsiteY23" fmla="*/ 645544 h 1139825"/>
                  <a:gd name="connsiteX24" fmla="*/ 466826 w 1111250"/>
                  <a:gd name="connsiteY24" fmla="*/ 623405 h 1139825"/>
                  <a:gd name="connsiteX25" fmla="*/ 482529 w 1111250"/>
                  <a:gd name="connsiteY25" fmla="*/ 614121 h 1139825"/>
                  <a:gd name="connsiteX26" fmla="*/ 498232 w 1111250"/>
                  <a:gd name="connsiteY26" fmla="*/ 604837 h 1139825"/>
                  <a:gd name="connsiteX27" fmla="*/ 130969 w 1111250"/>
                  <a:gd name="connsiteY27" fmla="*/ 279400 h 1139825"/>
                  <a:gd name="connsiteX28" fmla="*/ 31750 w 1111250"/>
                  <a:gd name="connsiteY28" fmla="*/ 377905 h 1139825"/>
                  <a:gd name="connsiteX29" fmla="*/ 130969 w 1111250"/>
                  <a:gd name="connsiteY29" fmla="*/ 477838 h 1139825"/>
                  <a:gd name="connsiteX30" fmla="*/ 156666 w 1111250"/>
                  <a:gd name="connsiteY30" fmla="*/ 474269 h 1139825"/>
                  <a:gd name="connsiteX31" fmla="*/ 190215 w 1111250"/>
                  <a:gd name="connsiteY31" fmla="*/ 457852 h 1139825"/>
                  <a:gd name="connsiteX32" fmla="*/ 230188 w 1111250"/>
                  <a:gd name="connsiteY32" fmla="*/ 377905 h 1139825"/>
                  <a:gd name="connsiteX33" fmla="*/ 229474 w 1111250"/>
                  <a:gd name="connsiteY33" fmla="*/ 367912 h 1139825"/>
                  <a:gd name="connsiteX34" fmla="*/ 216626 w 1111250"/>
                  <a:gd name="connsiteY34" fmla="*/ 328653 h 1139825"/>
                  <a:gd name="connsiteX35" fmla="*/ 130969 w 1111250"/>
                  <a:gd name="connsiteY35" fmla="*/ 279400 h 1139825"/>
                  <a:gd name="connsiteX36" fmla="*/ 130765 w 1111250"/>
                  <a:gd name="connsiteY36" fmla="*/ 247650 h 1139825"/>
                  <a:gd name="connsiteX37" fmla="*/ 246523 w 1111250"/>
                  <a:gd name="connsiteY37" fmla="*/ 317602 h 1139825"/>
                  <a:gd name="connsiteX38" fmla="*/ 255098 w 1111250"/>
                  <a:gd name="connsiteY38" fmla="*/ 336874 h 1139825"/>
                  <a:gd name="connsiteX39" fmla="*/ 307975 w 1111250"/>
                  <a:gd name="connsiteY39" fmla="*/ 478205 h 1139825"/>
                  <a:gd name="connsiteX40" fmla="*/ 293684 w 1111250"/>
                  <a:gd name="connsiteY40" fmla="*/ 486056 h 1139825"/>
                  <a:gd name="connsiteX41" fmla="*/ 280107 w 1111250"/>
                  <a:gd name="connsiteY41" fmla="*/ 493194 h 1139825"/>
                  <a:gd name="connsiteX42" fmla="*/ 232947 w 1111250"/>
                  <a:gd name="connsiteY42" fmla="*/ 517463 h 1139825"/>
                  <a:gd name="connsiteX43" fmla="*/ 232232 w 1111250"/>
                  <a:gd name="connsiteY43" fmla="*/ 517463 h 1139825"/>
                  <a:gd name="connsiteX44" fmla="*/ 225801 w 1111250"/>
                  <a:gd name="connsiteY44" fmla="*/ 521032 h 1139825"/>
                  <a:gd name="connsiteX45" fmla="*/ 219370 w 1111250"/>
                  <a:gd name="connsiteY45" fmla="*/ 526029 h 1139825"/>
                  <a:gd name="connsiteX46" fmla="*/ 208652 w 1111250"/>
                  <a:gd name="connsiteY46" fmla="*/ 538163 h 1139825"/>
                  <a:gd name="connsiteX47" fmla="*/ 175067 w 1111250"/>
                  <a:gd name="connsiteY47" fmla="*/ 501046 h 1139825"/>
                  <a:gd name="connsiteX48" fmla="*/ 130765 w 1111250"/>
                  <a:gd name="connsiteY48" fmla="*/ 508184 h 1139825"/>
                  <a:gd name="connsiteX49" fmla="*/ 125763 w 1111250"/>
                  <a:gd name="connsiteY49" fmla="*/ 507470 h 1139825"/>
                  <a:gd name="connsiteX50" fmla="*/ 0 w 1111250"/>
                  <a:gd name="connsiteY50" fmla="*/ 377560 h 1139825"/>
                  <a:gd name="connsiteX51" fmla="*/ 130765 w 1111250"/>
                  <a:gd name="connsiteY51" fmla="*/ 247650 h 1139825"/>
                  <a:gd name="connsiteX52" fmla="*/ 564547 w 1111250"/>
                  <a:gd name="connsiteY52" fmla="*/ 0 h 1139825"/>
                  <a:gd name="connsiteX53" fmla="*/ 1095549 w 1111250"/>
                  <a:gd name="connsiteY53" fmla="*/ 0 h 1139825"/>
                  <a:gd name="connsiteX54" fmla="*/ 1111250 w 1111250"/>
                  <a:gd name="connsiteY54" fmla="*/ 15692 h 1139825"/>
                  <a:gd name="connsiteX55" fmla="*/ 1111250 w 1111250"/>
                  <a:gd name="connsiteY55" fmla="*/ 1124133 h 1139825"/>
                  <a:gd name="connsiteX56" fmla="*/ 1095549 w 1111250"/>
                  <a:gd name="connsiteY56" fmla="*/ 1139825 h 1139825"/>
                  <a:gd name="connsiteX57" fmla="*/ 564547 w 1111250"/>
                  <a:gd name="connsiteY57" fmla="*/ 1139825 h 1139825"/>
                  <a:gd name="connsiteX58" fmla="*/ 548845 w 1111250"/>
                  <a:gd name="connsiteY58" fmla="*/ 1124133 h 1139825"/>
                  <a:gd name="connsiteX59" fmla="*/ 548845 w 1111250"/>
                  <a:gd name="connsiteY59" fmla="*/ 798876 h 1139825"/>
                  <a:gd name="connsiteX60" fmla="*/ 580248 w 1111250"/>
                  <a:gd name="connsiteY60" fmla="*/ 815995 h 1139825"/>
                  <a:gd name="connsiteX61" fmla="*/ 580248 w 1111250"/>
                  <a:gd name="connsiteY61" fmla="*/ 1108441 h 1139825"/>
                  <a:gd name="connsiteX62" fmla="*/ 1079847 w 1111250"/>
                  <a:gd name="connsiteY62" fmla="*/ 1108441 h 1139825"/>
                  <a:gd name="connsiteX63" fmla="*/ 1079847 w 1111250"/>
                  <a:gd name="connsiteY63" fmla="*/ 538528 h 1139825"/>
                  <a:gd name="connsiteX64" fmla="*/ 1080561 w 1111250"/>
                  <a:gd name="connsiteY64" fmla="*/ 538528 h 1139825"/>
                  <a:gd name="connsiteX65" fmla="*/ 1080561 w 1111250"/>
                  <a:gd name="connsiteY65" fmla="*/ 507144 h 1139825"/>
                  <a:gd name="connsiteX66" fmla="*/ 1080561 w 1111250"/>
                  <a:gd name="connsiteY66" fmla="*/ 394445 h 1139825"/>
                  <a:gd name="connsiteX67" fmla="*/ 1080561 w 1111250"/>
                  <a:gd name="connsiteY67" fmla="*/ 139803 h 1139825"/>
                  <a:gd name="connsiteX68" fmla="*/ 1079847 w 1111250"/>
                  <a:gd name="connsiteY68" fmla="*/ 134810 h 1139825"/>
                  <a:gd name="connsiteX69" fmla="*/ 1079847 w 1111250"/>
                  <a:gd name="connsiteY69" fmla="*/ 31385 h 1139825"/>
                  <a:gd name="connsiteX70" fmla="*/ 580248 w 1111250"/>
                  <a:gd name="connsiteY70" fmla="*/ 31385 h 1139825"/>
                  <a:gd name="connsiteX71" fmla="*/ 580248 w 1111250"/>
                  <a:gd name="connsiteY71" fmla="*/ 135524 h 1139825"/>
                  <a:gd name="connsiteX72" fmla="*/ 580248 w 1111250"/>
                  <a:gd name="connsiteY72" fmla="*/ 334530 h 1139825"/>
                  <a:gd name="connsiteX73" fmla="*/ 580248 w 1111250"/>
                  <a:gd name="connsiteY73" fmla="*/ 389452 h 1139825"/>
                  <a:gd name="connsiteX74" fmla="*/ 580248 w 1111250"/>
                  <a:gd name="connsiteY74" fmla="*/ 407284 h 1139825"/>
                  <a:gd name="connsiteX75" fmla="*/ 580248 w 1111250"/>
                  <a:gd name="connsiteY75" fmla="*/ 425116 h 1139825"/>
                  <a:gd name="connsiteX76" fmla="*/ 580248 w 1111250"/>
                  <a:gd name="connsiteY76" fmla="*/ 462207 h 1139825"/>
                  <a:gd name="connsiteX77" fmla="*/ 580248 w 1111250"/>
                  <a:gd name="connsiteY77" fmla="*/ 480039 h 1139825"/>
                  <a:gd name="connsiteX78" fmla="*/ 580248 w 1111250"/>
                  <a:gd name="connsiteY78" fmla="*/ 498584 h 1139825"/>
                  <a:gd name="connsiteX79" fmla="*/ 580248 w 1111250"/>
                  <a:gd name="connsiteY79" fmla="*/ 538528 h 1139825"/>
                  <a:gd name="connsiteX80" fmla="*/ 580248 w 1111250"/>
                  <a:gd name="connsiteY80" fmla="*/ 554934 h 1139825"/>
                  <a:gd name="connsiteX81" fmla="*/ 580248 w 1111250"/>
                  <a:gd name="connsiteY81" fmla="*/ 575619 h 1139825"/>
                  <a:gd name="connsiteX82" fmla="*/ 580248 w 1111250"/>
                  <a:gd name="connsiteY82" fmla="*/ 594878 h 1139825"/>
                  <a:gd name="connsiteX83" fmla="*/ 548845 w 1111250"/>
                  <a:gd name="connsiteY83" fmla="*/ 576332 h 1139825"/>
                  <a:gd name="connsiteX84" fmla="*/ 548845 w 1111250"/>
                  <a:gd name="connsiteY84" fmla="*/ 575619 h 1139825"/>
                  <a:gd name="connsiteX85" fmla="*/ 548845 w 1111250"/>
                  <a:gd name="connsiteY85" fmla="*/ 573479 h 1139825"/>
                  <a:gd name="connsiteX86" fmla="*/ 548845 w 1111250"/>
                  <a:gd name="connsiteY86" fmla="*/ 517130 h 1139825"/>
                  <a:gd name="connsiteX87" fmla="*/ 498171 w 1111250"/>
                  <a:gd name="connsiteY87" fmla="*/ 546374 h 1139825"/>
                  <a:gd name="connsiteX88" fmla="*/ 449639 w 1111250"/>
                  <a:gd name="connsiteY88" fmla="*/ 574906 h 1139825"/>
                  <a:gd name="connsiteX89" fmla="*/ 433937 w 1111250"/>
                  <a:gd name="connsiteY89" fmla="*/ 584178 h 1139825"/>
                  <a:gd name="connsiteX90" fmla="*/ 418236 w 1111250"/>
                  <a:gd name="connsiteY90" fmla="*/ 593451 h 1139825"/>
                  <a:gd name="connsiteX91" fmla="*/ 377554 w 1111250"/>
                  <a:gd name="connsiteY91" fmla="*/ 617703 h 1139825"/>
                  <a:gd name="connsiteX92" fmla="*/ 361139 w 1111250"/>
                  <a:gd name="connsiteY92" fmla="*/ 626975 h 1139825"/>
                  <a:gd name="connsiteX93" fmla="*/ 345437 w 1111250"/>
                  <a:gd name="connsiteY93" fmla="*/ 636248 h 1139825"/>
                  <a:gd name="connsiteX94" fmla="*/ 315461 w 1111250"/>
                  <a:gd name="connsiteY94" fmla="*/ 654080 h 1139825"/>
                  <a:gd name="connsiteX95" fmla="*/ 308324 w 1111250"/>
                  <a:gd name="connsiteY95" fmla="*/ 671912 h 1139825"/>
                  <a:gd name="connsiteX96" fmla="*/ 255509 w 1111250"/>
                  <a:gd name="connsiteY96" fmla="*/ 813142 h 1139825"/>
                  <a:gd name="connsiteX97" fmla="*/ 246945 w 1111250"/>
                  <a:gd name="connsiteY97" fmla="*/ 833114 h 1139825"/>
                  <a:gd name="connsiteX98" fmla="*/ 131323 w 1111250"/>
                  <a:gd name="connsiteY98" fmla="*/ 903015 h 1139825"/>
                  <a:gd name="connsiteX99" fmla="*/ 0 w 1111250"/>
                  <a:gd name="connsiteY99" fmla="*/ 772485 h 1139825"/>
                  <a:gd name="connsiteX100" fmla="*/ 126327 w 1111250"/>
                  <a:gd name="connsiteY100" fmla="*/ 641954 h 1139825"/>
                  <a:gd name="connsiteX101" fmla="*/ 131323 w 1111250"/>
                  <a:gd name="connsiteY101" fmla="*/ 641954 h 1139825"/>
                  <a:gd name="connsiteX102" fmla="*/ 175573 w 1111250"/>
                  <a:gd name="connsiteY102" fmla="*/ 649800 h 1139825"/>
                  <a:gd name="connsiteX103" fmla="*/ 209118 w 1111250"/>
                  <a:gd name="connsiteY103" fmla="*/ 611996 h 1139825"/>
                  <a:gd name="connsiteX104" fmla="*/ 241949 w 1111250"/>
                  <a:gd name="connsiteY104" fmla="*/ 574906 h 1139825"/>
                  <a:gd name="connsiteX105" fmla="*/ 251227 w 1111250"/>
                  <a:gd name="connsiteY105" fmla="*/ 564920 h 1139825"/>
                  <a:gd name="connsiteX106" fmla="*/ 252654 w 1111250"/>
                  <a:gd name="connsiteY106" fmla="*/ 563493 h 1139825"/>
                  <a:gd name="connsiteX107" fmla="*/ 255509 w 1111250"/>
                  <a:gd name="connsiteY107" fmla="*/ 561353 h 1139825"/>
                  <a:gd name="connsiteX108" fmla="*/ 266929 w 1111250"/>
                  <a:gd name="connsiteY108" fmla="*/ 555647 h 1139825"/>
                  <a:gd name="connsiteX109" fmla="*/ 312606 w 1111250"/>
                  <a:gd name="connsiteY109" fmla="*/ 531395 h 1139825"/>
                  <a:gd name="connsiteX110" fmla="*/ 329022 w 1111250"/>
                  <a:gd name="connsiteY110" fmla="*/ 522836 h 1139825"/>
                  <a:gd name="connsiteX111" fmla="*/ 345437 w 1111250"/>
                  <a:gd name="connsiteY111" fmla="*/ 514277 h 1139825"/>
                  <a:gd name="connsiteX112" fmla="*/ 396111 w 1111250"/>
                  <a:gd name="connsiteY112" fmla="*/ 487172 h 1139825"/>
                  <a:gd name="connsiteX113" fmla="*/ 548845 w 1111250"/>
                  <a:gd name="connsiteY113" fmla="*/ 406571 h 1139825"/>
                  <a:gd name="connsiteX114" fmla="*/ 548845 w 1111250"/>
                  <a:gd name="connsiteY114" fmla="*/ 350935 h 1139825"/>
                  <a:gd name="connsiteX115" fmla="*/ 548845 w 1111250"/>
                  <a:gd name="connsiteY115" fmla="*/ 15692 h 1139825"/>
                  <a:gd name="connsiteX116" fmla="*/ 564547 w 1111250"/>
                  <a:gd name="connsiteY116" fmla="*/ 0 h 11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1250" h="1139825">
                    <a:moveTo>
                      <a:pt x="131325" y="673100"/>
                    </a:moveTo>
                    <a:cubicBezTo>
                      <a:pt x="76559" y="673100"/>
                      <a:pt x="31750" y="717356"/>
                      <a:pt x="31750" y="772319"/>
                    </a:cubicBezTo>
                    <a:cubicBezTo>
                      <a:pt x="31750" y="827282"/>
                      <a:pt x="76559" y="871538"/>
                      <a:pt x="131325" y="871538"/>
                    </a:cubicBezTo>
                    <a:cubicBezTo>
                      <a:pt x="167598" y="871538"/>
                      <a:pt x="199605" y="851552"/>
                      <a:pt x="216675" y="821572"/>
                    </a:cubicBezTo>
                    <a:cubicBezTo>
                      <a:pt x="223787" y="810151"/>
                      <a:pt x="228055" y="796589"/>
                      <a:pt x="229477" y="783026"/>
                    </a:cubicBezTo>
                    <a:cubicBezTo>
                      <a:pt x="230188" y="779457"/>
                      <a:pt x="230188" y="775888"/>
                      <a:pt x="230188" y="772319"/>
                    </a:cubicBezTo>
                    <a:cubicBezTo>
                      <a:pt x="230188" y="740198"/>
                      <a:pt x="214541" y="710932"/>
                      <a:pt x="190358" y="693087"/>
                    </a:cubicBezTo>
                    <a:cubicBezTo>
                      <a:pt x="180401" y="685235"/>
                      <a:pt x="169021" y="679524"/>
                      <a:pt x="156930" y="675955"/>
                    </a:cubicBezTo>
                    <a:cubicBezTo>
                      <a:pt x="148395" y="673814"/>
                      <a:pt x="139860" y="673100"/>
                      <a:pt x="131325" y="673100"/>
                    </a:cubicBezTo>
                    <a:close/>
                    <a:moveTo>
                      <a:pt x="498232" y="604837"/>
                    </a:moveTo>
                    <a:cubicBezTo>
                      <a:pt x="498232" y="604837"/>
                      <a:pt x="498232" y="604837"/>
                      <a:pt x="548910" y="634832"/>
                    </a:cubicBezTo>
                    <a:cubicBezTo>
                      <a:pt x="548910" y="634832"/>
                      <a:pt x="548910" y="634832"/>
                      <a:pt x="580316" y="653400"/>
                    </a:cubicBezTo>
                    <a:cubicBezTo>
                      <a:pt x="580316" y="653400"/>
                      <a:pt x="580316" y="653400"/>
                      <a:pt x="611723" y="671254"/>
                    </a:cubicBezTo>
                    <a:cubicBezTo>
                      <a:pt x="611723" y="671254"/>
                      <a:pt x="611723" y="671254"/>
                      <a:pt x="863687" y="818371"/>
                    </a:cubicBezTo>
                    <a:cubicBezTo>
                      <a:pt x="867256" y="819799"/>
                      <a:pt x="870111" y="824084"/>
                      <a:pt x="870824" y="828369"/>
                    </a:cubicBezTo>
                    <a:cubicBezTo>
                      <a:pt x="871538" y="833368"/>
                      <a:pt x="870824" y="837653"/>
                      <a:pt x="867256" y="841224"/>
                    </a:cubicBezTo>
                    <a:cubicBezTo>
                      <a:pt x="857976" y="853365"/>
                      <a:pt x="835849" y="868362"/>
                      <a:pt x="806584" y="868362"/>
                    </a:cubicBezTo>
                    <a:cubicBezTo>
                      <a:pt x="791595" y="868362"/>
                      <a:pt x="774464" y="864077"/>
                      <a:pt x="756620" y="854079"/>
                    </a:cubicBezTo>
                    <a:cubicBezTo>
                      <a:pt x="738062" y="844081"/>
                      <a:pt x="680959" y="814800"/>
                      <a:pt x="611723" y="777664"/>
                    </a:cubicBezTo>
                    <a:cubicBezTo>
                      <a:pt x="601016" y="772665"/>
                      <a:pt x="591023" y="766951"/>
                      <a:pt x="580316" y="761238"/>
                    </a:cubicBezTo>
                    <a:cubicBezTo>
                      <a:pt x="570324" y="755525"/>
                      <a:pt x="559617" y="750526"/>
                      <a:pt x="548910" y="744812"/>
                    </a:cubicBezTo>
                    <a:cubicBezTo>
                      <a:pt x="497518" y="716960"/>
                      <a:pt x="443271" y="689108"/>
                      <a:pt x="396875" y="664827"/>
                    </a:cubicBezTo>
                    <a:cubicBezTo>
                      <a:pt x="396875" y="664827"/>
                      <a:pt x="396875" y="664827"/>
                      <a:pt x="413292" y="654828"/>
                    </a:cubicBezTo>
                    <a:cubicBezTo>
                      <a:pt x="413292" y="654828"/>
                      <a:pt x="413292" y="654828"/>
                      <a:pt x="428995" y="645544"/>
                    </a:cubicBezTo>
                    <a:cubicBezTo>
                      <a:pt x="428995" y="645544"/>
                      <a:pt x="428995" y="645544"/>
                      <a:pt x="466826" y="623405"/>
                    </a:cubicBezTo>
                    <a:cubicBezTo>
                      <a:pt x="466826" y="623405"/>
                      <a:pt x="466826" y="623405"/>
                      <a:pt x="482529" y="614121"/>
                    </a:cubicBezTo>
                    <a:cubicBezTo>
                      <a:pt x="482529" y="614121"/>
                      <a:pt x="482529" y="614121"/>
                      <a:pt x="498232" y="604837"/>
                    </a:cubicBezTo>
                    <a:close/>
                    <a:moveTo>
                      <a:pt x="130969" y="279400"/>
                    </a:moveTo>
                    <a:cubicBezTo>
                      <a:pt x="76720" y="279400"/>
                      <a:pt x="31750" y="323656"/>
                      <a:pt x="31750" y="377905"/>
                    </a:cubicBezTo>
                    <a:cubicBezTo>
                      <a:pt x="31750" y="432868"/>
                      <a:pt x="76720" y="477838"/>
                      <a:pt x="130969" y="477838"/>
                    </a:cubicBezTo>
                    <a:cubicBezTo>
                      <a:pt x="139535" y="477838"/>
                      <a:pt x="148101" y="476411"/>
                      <a:pt x="156666" y="474269"/>
                    </a:cubicBezTo>
                    <a:cubicBezTo>
                      <a:pt x="168801" y="470700"/>
                      <a:pt x="180222" y="464990"/>
                      <a:pt x="190215" y="457852"/>
                    </a:cubicBezTo>
                    <a:cubicBezTo>
                      <a:pt x="214485" y="439293"/>
                      <a:pt x="230188" y="410740"/>
                      <a:pt x="230188" y="377905"/>
                    </a:cubicBezTo>
                    <a:cubicBezTo>
                      <a:pt x="230188" y="374336"/>
                      <a:pt x="230188" y="371481"/>
                      <a:pt x="229474" y="367912"/>
                    </a:cubicBezTo>
                    <a:cubicBezTo>
                      <a:pt x="228047" y="353636"/>
                      <a:pt x="223764" y="340787"/>
                      <a:pt x="216626" y="328653"/>
                    </a:cubicBezTo>
                    <a:cubicBezTo>
                      <a:pt x="199495" y="299387"/>
                      <a:pt x="167373" y="279400"/>
                      <a:pt x="130969" y="279400"/>
                    </a:cubicBezTo>
                    <a:close/>
                    <a:moveTo>
                      <a:pt x="130765" y="247650"/>
                    </a:moveTo>
                    <a:cubicBezTo>
                      <a:pt x="180784" y="247650"/>
                      <a:pt x="224372" y="276202"/>
                      <a:pt x="246523" y="317602"/>
                    </a:cubicBezTo>
                    <a:cubicBezTo>
                      <a:pt x="250096" y="323312"/>
                      <a:pt x="252240" y="330450"/>
                      <a:pt x="255098" y="336874"/>
                    </a:cubicBezTo>
                    <a:cubicBezTo>
                      <a:pt x="255098" y="336874"/>
                      <a:pt x="255098" y="336874"/>
                      <a:pt x="307975" y="478205"/>
                    </a:cubicBezTo>
                    <a:cubicBezTo>
                      <a:pt x="302973" y="481060"/>
                      <a:pt x="298686" y="483201"/>
                      <a:pt x="293684" y="486056"/>
                    </a:cubicBezTo>
                    <a:cubicBezTo>
                      <a:pt x="289397" y="488198"/>
                      <a:pt x="284395" y="491053"/>
                      <a:pt x="280107" y="493194"/>
                    </a:cubicBezTo>
                    <a:cubicBezTo>
                      <a:pt x="253669" y="506756"/>
                      <a:pt x="236519" y="515322"/>
                      <a:pt x="232947" y="517463"/>
                    </a:cubicBezTo>
                    <a:cubicBezTo>
                      <a:pt x="232947" y="517463"/>
                      <a:pt x="232947" y="517463"/>
                      <a:pt x="232232" y="517463"/>
                    </a:cubicBezTo>
                    <a:cubicBezTo>
                      <a:pt x="232232" y="517463"/>
                      <a:pt x="232232" y="517463"/>
                      <a:pt x="225801" y="521032"/>
                    </a:cubicBezTo>
                    <a:cubicBezTo>
                      <a:pt x="223657" y="522460"/>
                      <a:pt x="221514" y="523887"/>
                      <a:pt x="219370" y="526029"/>
                    </a:cubicBezTo>
                    <a:cubicBezTo>
                      <a:pt x="219370" y="526029"/>
                      <a:pt x="219370" y="526029"/>
                      <a:pt x="208652" y="538163"/>
                    </a:cubicBezTo>
                    <a:cubicBezTo>
                      <a:pt x="208652" y="538163"/>
                      <a:pt x="208652" y="538163"/>
                      <a:pt x="175067" y="501046"/>
                    </a:cubicBezTo>
                    <a:cubicBezTo>
                      <a:pt x="161491" y="506043"/>
                      <a:pt x="146485" y="508184"/>
                      <a:pt x="130765" y="508184"/>
                    </a:cubicBezTo>
                    <a:cubicBezTo>
                      <a:pt x="128621" y="508184"/>
                      <a:pt x="127192" y="508184"/>
                      <a:pt x="125763" y="507470"/>
                    </a:cubicBezTo>
                    <a:cubicBezTo>
                      <a:pt x="56450" y="506043"/>
                      <a:pt x="0" y="448225"/>
                      <a:pt x="0" y="377560"/>
                    </a:cubicBezTo>
                    <a:cubicBezTo>
                      <a:pt x="0" y="306181"/>
                      <a:pt x="59309" y="247650"/>
                      <a:pt x="130765" y="247650"/>
                    </a:cubicBezTo>
                    <a:close/>
                    <a:moveTo>
                      <a:pt x="564547" y="0"/>
                    </a:moveTo>
                    <a:cubicBezTo>
                      <a:pt x="564547" y="0"/>
                      <a:pt x="564547" y="0"/>
                      <a:pt x="1095549" y="0"/>
                    </a:cubicBezTo>
                    <a:cubicBezTo>
                      <a:pt x="1104827" y="0"/>
                      <a:pt x="1111250" y="7133"/>
                      <a:pt x="1111250" y="15692"/>
                    </a:cubicBezTo>
                    <a:cubicBezTo>
                      <a:pt x="1111250" y="15692"/>
                      <a:pt x="1111250" y="15692"/>
                      <a:pt x="1111250" y="1124133"/>
                    </a:cubicBezTo>
                    <a:cubicBezTo>
                      <a:pt x="1111250" y="1132692"/>
                      <a:pt x="1104827" y="1139825"/>
                      <a:pt x="1095549" y="1139825"/>
                    </a:cubicBezTo>
                    <a:cubicBezTo>
                      <a:pt x="1095549" y="1139825"/>
                      <a:pt x="1095549" y="1139825"/>
                      <a:pt x="564547" y="1139825"/>
                    </a:cubicBezTo>
                    <a:cubicBezTo>
                      <a:pt x="555982" y="1139825"/>
                      <a:pt x="548845" y="1132692"/>
                      <a:pt x="548845" y="1124133"/>
                    </a:cubicBezTo>
                    <a:cubicBezTo>
                      <a:pt x="548845" y="1124133"/>
                      <a:pt x="548845" y="1124133"/>
                      <a:pt x="548845" y="798876"/>
                    </a:cubicBezTo>
                    <a:cubicBezTo>
                      <a:pt x="559551" y="804583"/>
                      <a:pt x="570256" y="810289"/>
                      <a:pt x="580248" y="815995"/>
                    </a:cubicBezTo>
                    <a:cubicBezTo>
                      <a:pt x="580248" y="815995"/>
                      <a:pt x="580248" y="815995"/>
                      <a:pt x="580248" y="1108441"/>
                    </a:cubicBezTo>
                    <a:cubicBezTo>
                      <a:pt x="580248" y="1108441"/>
                      <a:pt x="580248" y="1108441"/>
                      <a:pt x="1079847" y="1108441"/>
                    </a:cubicBezTo>
                    <a:cubicBezTo>
                      <a:pt x="1079847" y="1108441"/>
                      <a:pt x="1079847" y="1108441"/>
                      <a:pt x="1079847" y="538528"/>
                    </a:cubicBezTo>
                    <a:cubicBezTo>
                      <a:pt x="1079847" y="538528"/>
                      <a:pt x="1079847" y="538528"/>
                      <a:pt x="1080561" y="538528"/>
                    </a:cubicBezTo>
                    <a:cubicBezTo>
                      <a:pt x="1080561" y="538528"/>
                      <a:pt x="1080561" y="538528"/>
                      <a:pt x="1080561" y="507144"/>
                    </a:cubicBezTo>
                    <a:cubicBezTo>
                      <a:pt x="1080561" y="507144"/>
                      <a:pt x="1080561" y="507144"/>
                      <a:pt x="1080561" y="394445"/>
                    </a:cubicBezTo>
                    <a:cubicBezTo>
                      <a:pt x="1080561" y="394445"/>
                      <a:pt x="1080561" y="394445"/>
                      <a:pt x="1080561" y="139803"/>
                    </a:cubicBezTo>
                    <a:cubicBezTo>
                      <a:pt x="1080561" y="137664"/>
                      <a:pt x="1080561" y="136237"/>
                      <a:pt x="1079847" y="134810"/>
                    </a:cubicBezTo>
                    <a:cubicBezTo>
                      <a:pt x="1079847" y="134810"/>
                      <a:pt x="1079847" y="134810"/>
                      <a:pt x="1079847" y="31385"/>
                    </a:cubicBezTo>
                    <a:cubicBezTo>
                      <a:pt x="1079847" y="31385"/>
                      <a:pt x="1079847" y="31385"/>
                      <a:pt x="580248" y="31385"/>
                    </a:cubicBezTo>
                    <a:cubicBezTo>
                      <a:pt x="580248" y="31385"/>
                      <a:pt x="580248" y="31385"/>
                      <a:pt x="580248" y="135524"/>
                    </a:cubicBezTo>
                    <a:cubicBezTo>
                      <a:pt x="580248" y="135524"/>
                      <a:pt x="580248" y="135524"/>
                      <a:pt x="580248" y="334530"/>
                    </a:cubicBezTo>
                    <a:cubicBezTo>
                      <a:pt x="580248" y="334530"/>
                      <a:pt x="580248" y="334530"/>
                      <a:pt x="580248" y="389452"/>
                    </a:cubicBezTo>
                    <a:cubicBezTo>
                      <a:pt x="580248" y="389452"/>
                      <a:pt x="580248" y="389452"/>
                      <a:pt x="580248" y="407284"/>
                    </a:cubicBezTo>
                    <a:cubicBezTo>
                      <a:pt x="580248" y="407284"/>
                      <a:pt x="580248" y="407284"/>
                      <a:pt x="580248" y="425116"/>
                    </a:cubicBezTo>
                    <a:cubicBezTo>
                      <a:pt x="580248" y="425116"/>
                      <a:pt x="580248" y="425116"/>
                      <a:pt x="580248" y="462207"/>
                    </a:cubicBezTo>
                    <a:cubicBezTo>
                      <a:pt x="580248" y="462207"/>
                      <a:pt x="580248" y="462207"/>
                      <a:pt x="580248" y="480039"/>
                    </a:cubicBezTo>
                    <a:cubicBezTo>
                      <a:pt x="580248" y="480039"/>
                      <a:pt x="580248" y="480039"/>
                      <a:pt x="580248" y="498584"/>
                    </a:cubicBezTo>
                    <a:cubicBezTo>
                      <a:pt x="580248" y="498584"/>
                      <a:pt x="580248" y="498584"/>
                      <a:pt x="580248" y="538528"/>
                    </a:cubicBezTo>
                    <a:cubicBezTo>
                      <a:pt x="580248" y="538528"/>
                      <a:pt x="580248" y="538528"/>
                      <a:pt x="580248" y="554934"/>
                    </a:cubicBezTo>
                    <a:cubicBezTo>
                      <a:pt x="580248" y="554934"/>
                      <a:pt x="580248" y="554934"/>
                      <a:pt x="580248" y="575619"/>
                    </a:cubicBezTo>
                    <a:cubicBezTo>
                      <a:pt x="580248" y="575619"/>
                      <a:pt x="580248" y="575619"/>
                      <a:pt x="580248" y="594878"/>
                    </a:cubicBezTo>
                    <a:cubicBezTo>
                      <a:pt x="580248" y="594878"/>
                      <a:pt x="580248" y="594878"/>
                      <a:pt x="548845" y="576332"/>
                    </a:cubicBezTo>
                    <a:cubicBezTo>
                      <a:pt x="548845" y="576332"/>
                      <a:pt x="548845" y="576332"/>
                      <a:pt x="548845" y="575619"/>
                    </a:cubicBezTo>
                    <a:cubicBezTo>
                      <a:pt x="548845" y="575619"/>
                      <a:pt x="548845" y="575619"/>
                      <a:pt x="548845" y="573479"/>
                    </a:cubicBezTo>
                    <a:cubicBezTo>
                      <a:pt x="548845" y="573479"/>
                      <a:pt x="548845" y="573479"/>
                      <a:pt x="548845" y="517130"/>
                    </a:cubicBezTo>
                    <a:cubicBezTo>
                      <a:pt x="548845" y="517130"/>
                      <a:pt x="548845" y="517130"/>
                      <a:pt x="498171" y="546374"/>
                    </a:cubicBezTo>
                    <a:cubicBezTo>
                      <a:pt x="498171" y="546374"/>
                      <a:pt x="498171" y="546374"/>
                      <a:pt x="449639" y="574906"/>
                    </a:cubicBezTo>
                    <a:cubicBezTo>
                      <a:pt x="449639" y="574906"/>
                      <a:pt x="449639" y="574906"/>
                      <a:pt x="433937" y="584178"/>
                    </a:cubicBezTo>
                    <a:cubicBezTo>
                      <a:pt x="433937" y="584178"/>
                      <a:pt x="433937" y="584178"/>
                      <a:pt x="418236" y="593451"/>
                    </a:cubicBezTo>
                    <a:cubicBezTo>
                      <a:pt x="418236" y="593451"/>
                      <a:pt x="418236" y="593451"/>
                      <a:pt x="377554" y="617703"/>
                    </a:cubicBezTo>
                    <a:cubicBezTo>
                      <a:pt x="377554" y="617703"/>
                      <a:pt x="377554" y="617703"/>
                      <a:pt x="361139" y="626975"/>
                    </a:cubicBezTo>
                    <a:cubicBezTo>
                      <a:pt x="361139" y="626975"/>
                      <a:pt x="361139" y="626975"/>
                      <a:pt x="345437" y="636248"/>
                    </a:cubicBezTo>
                    <a:cubicBezTo>
                      <a:pt x="345437" y="636248"/>
                      <a:pt x="345437" y="636248"/>
                      <a:pt x="315461" y="654080"/>
                    </a:cubicBezTo>
                    <a:cubicBezTo>
                      <a:pt x="315461" y="654080"/>
                      <a:pt x="315461" y="654080"/>
                      <a:pt x="308324" y="671912"/>
                    </a:cubicBezTo>
                    <a:cubicBezTo>
                      <a:pt x="308324" y="671912"/>
                      <a:pt x="308324" y="671912"/>
                      <a:pt x="255509" y="813142"/>
                    </a:cubicBezTo>
                    <a:cubicBezTo>
                      <a:pt x="253368" y="820275"/>
                      <a:pt x="250513" y="826694"/>
                      <a:pt x="246945" y="833114"/>
                    </a:cubicBezTo>
                    <a:cubicBezTo>
                      <a:pt x="224820" y="874484"/>
                      <a:pt x="181283" y="903015"/>
                      <a:pt x="131323" y="903015"/>
                    </a:cubicBezTo>
                    <a:cubicBezTo>
                      <a:pt x="59238" y="903015"/>
                      <a:pt x="0" y="844526"/>
                      <a:pt x="0" y="772485"/>
                    </a:cubicBezTo>
                    <a:cubicBezTo>
                      <a:pt x="0" y="701870"/>
                      <a:pt x="56384" y="644094"/>
                      <a:pt x="126327" y="641954"/>
                    </a:cubicBezTo>
                    <a:cubicBezTo>
                      <a:pt x="127755" y="641954"/>
                      <a:pt x="129182" y="641954"/>
                      <a:pt x="131323" y="641954"/>
                    </a:cubicBezTo>
                    <a:cubicBezTo>
                      <a:pt x="147025" y="641954"/>
                      <a:pt x="162013" y="644807"/>
                      <a:pt x="175573" y="649800"/>
                    </a:cubicBezTo>
                    <a:cubicBezTo>
                      <a:pt x="175573" y="649800"/>
                      <a:pt x="175573" y="649800"/>
                      <a:pt x="209118" y="611996"/>
                    </a:cubicBezTo>
                    <a:cubicBezTo>
                      <a:pt x="209118" y="611996"/>
                      <a:pt x="209118" y="611996"/>
                      <a:pt x="241949" y="574906"/>
                    </a:cubicBezTo>
                    <a:cubicBezTo>
                      <a:pt x="241949" y="574906"/>
                      <a:pt x="241949" y="574906"/>
                      <a:pt x="251227" y="564920"/>
                    </a:cubicBezTo>
                    <a:cubicBezTo>
                      <a:pt x="251941" y="564206"/>
                      <a:pt x="252654" y="563493"/>
                      <a:pt x="252654" y="563493"/>
                    </a:cubicBezTo>
                    <a:cubicBezTo>
                      <a:pt x="254082" y="562780"/>
                      <a:pt x="254796" y="562067"/>
                      <a:pt x="255509" y="561353"/>
                    </a:cubicBezTo>
                    <a:cubicBezTo>
                      <a:pt x="256223" y="561353"/>
                      <a:pt x="259792" y="559213"/>
                      <a:pt x="266929" y="555647"/>
                    </a:cubicBezTo>
                    <a:cubicBezTo>
                      <a:pt x="276921" y="550654"/>
                      <a:pt x="292622" y="542095"/>
                      <a:pt x="312606" y="531395"/>
                    </a:cubicBezTo>
                    <a:cubicBezTo>
                      <a:pt x="317602" y="528542"/>
                      <a:pt x="323312" y="525689"/>
                      <a:pt x="329022" y="522836"/>
                    </a:cubicBezTo>
                    <a:cubicBezTo>
                      <a:pt x="334018" y="519983"/>
                      <a:pt x="339727" y="517130"/>
                      <a:pt x="345437" y="514277"/>
                    </a:cubicBezTo>
                    <a:cubicBezTo>
                      <a:pt x="361139" y="505717"/>
                      <a:pt x="378268" y="496445"/>
                      <a:pt x="396111" y="487172"/>
                    </a:cubicBezTo>
                    <a:cubicBezTo>
                      <a:pt x="443216" y="462207"/>
                      <a:pt x="497458" y="433676"/>
                      <a:pt x="548845" y="406571"/>
                    </a:cubicBezTo>
                    <a:cubicBezTo>
                      <a:pt x="548845" y="406571"/>
                      <a:pt x="548845" y="406571"/>
                      <a:pt x="548845" y="350935"/>
                    </a:cubicBezTo>
                    <a:cubicBezTo>
                      <a:pt x="548845" y="350935"/>
                      <a:pt x="548845" y="350935"/>
                      <a:pt x="548845" y="15692"/>
                    </a:cubicBezTo>
                    <a:cubicBezTo>
                      <a:pt x="548845" y="7133"/>
                      <a:pt x="555982" y="0"/>
                      <a:pt x="564547" y="0"/>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noAutofit/>
              </a:bodyPr>
              <a:lstStyle/>
              <a:p>
                <a:endParaRPr lang="en-US" dirty="0">
                  <a:solidFill>
                    <a:srgbClr val="295E7E"/>
                  </a:solidFill>
                </a:endParaRPr>
              </a:p>
            </p:txBody>
          </p:sp>
        </p:grpSp>
        <p:sp>
          <p:nvSpPr>
            <p:cNvPr id="51" name="Rectangle 50">
              <a:extLst>
                <a:ext uri="{FF2B5EF4-FFF2-40B4-BE49-F238E27FC236}">
                  <a16:creationId xmlns:a16="http://schemas.microsoft.com/office/drawing/2014/main" id="{C8590062-2022-478F-857A-203EB10AC792}"/>
                </a:ext>
              </a:extLst>
            </p:cNvPr>
            <p:cNvSpPr/>
            <p:nvPr/>
          </p:nvSpPr>
          <p:spPr>
            <a:xfrm>
              <a:off x="176379" y="4056589"/>
              <a:ext cx="1577976" cy="165934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9C8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r>
                <a:rPr lang="ja-JP" altLang="en-US" sz="1800" dirty="0">
                  <a:solidFill>
                    <a:srgbClr val="295E7E"/>
                  </a:solidFill>
                  <a:latin typeface="Trebuchet MS" panose="020B0603020202020204" pitchFamily="34" charset="0"/>
                  <a:ea typeface="Meiryo UI" panose="020B0604030504040204" pitchFamily="50" charset="-128"/>
                </a:rPr>
                <a:t> 排出削減</a:t>
              </a:r>
              <a:endParaRPr lang="en-US" altLang="ja-JP" sz="1800" dirty="0">
                <a:solidFill>
                  <a:srgbClr val="295E7E"/>
                </a:solidFill>
                <a:latin typeface="Trebuchet MS" panose="020B0603020202020204" pitchFamily="34" charset="0"/>
                <a:ea typeface="Meiryo UI" panose="020B0604030504040204" pitchFamily="50" charset="-128"/>
              </a:endParaRPr>
            </a:p>
          </p:txBody>
        </p:sp>
      </p:grpSp>
      <p:grpSp>
        <p:nvGrpSpPr>
          <p:cNvPr id="94" name="Group 93">
            <a:extLst>
              <a:ext uri="{FF2B5EF4-FFF2-40B4-BE49-F238E27FC236}">
                <a16:creationId xmlns:a16="http://schemas.microsoft.com/office/drawing/2014/main" id="{5FFB6133-F66B-4C15-B923-CCE3BE7D4211}"/>
              </a:ext>
            </a:extLst>
          </p:cNvPr>
          <p:cNvGrpSpPr/>
          <p:nvPr/>
        </p:nvGrpSpPr>
        <p:grpSpPr>
          <a:xfrm>
            <a:off x="1662159" y="4027436"/>
            <a:ext cx="1577976" cy="933805"/>
            <a:chOff x="161925" y="2572648"/>
            <a:chExt cx="1577976" cy="1476000"/>
          </a:xfrm>
        </p:grpSpPr>
        <p:sp>
          <p:nvSpPr>
            <p:cNvPr id="67" name="Rectangle 66">
              <a:extLst>
                <a:ext uri="{FF2B5EF4-FFF2-40B4-BE49-F238E27FC236}">
                  <a16:creationId xmlns:a16="http://schemas.microsoft.com/office/drawing/2014/main" id="{8C695207-66A3-4B58-AD32-741D57A41263}"/>
                </a:ext>
              </a:extLst>
            </p:cNvPr>
            <p:cNvSpPr/>
            <p:nvPr/>
          </p:nvSpPr>
          <p:spPr>
            <a:xfrm>
              <a:off x="161925" y="2572648"/>
              <a:ext cx="1577976" cy="1476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9C8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endParaRPr lang="en-US" altLang="ja-JP" sz="1800" dirty="0">
                <a:solidFill>
                  <a:srgbClr val="295E7E"/>
                </a:solidFill>
                <a:latin typeface="Trebuchet MS" panose="020B0603020202020204" pitchFamily="34" charset="0"/>
                <a:ea typeface="Meiryo UI" panose="020B0604030504040204" pitchFamily="50" charset="-128"/>
              </a:endParaRPr>
            </a:p>
          </p:txBody>
        </p:sp>
        <p:sp>
          <p:nvSpPr>
            <p:cNvPr id="54" name="Freeform 35">
              <a:extLst>
                <a:ext uri="{FF2B5EF4-FFF2-40B4-BE49-F238E27FC236}">
                  <a16:creationId xmlns:a16="http://schemas.microsoft.com/office/drawing/2014/main" id="{4FBB5D92-0BC5-4434-8AC0-97E1A5554425}"/>
                </a:ext>
              </a:extLst>
            </p:cNvPr>
            <p:cNvSpPr>
              <a:spLocks noEditPoints="1"/>
            </p:cNvSpPr>
            <p:nvPr/>
          </p:nvSpPr>
          <p:spPr bwMode="auto">
            <a:xfrm>
              <a:off x="395386" y="2805731"/>
              <a:ext cx="1112399" cy="1009835"/>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295E7E"/>
                </a:solidFill>
              </a:endParaRPr>
            </a:p>
          </p:txBody>
        </p:sp>
        <p:sp>
          <p:nvSpPr>
            <p:cNvPr id="55" name="Freeform 36">
              <a:extLst>
                <a:ext uri="{FF2B5EF4-FFF2-40B4-BE49-F238E27FC236}">
                  <a16:creationId xmlns:a16="http://schemas.microsoft.com/office/drawing/2014/main" id="{C6021B82-7526-42E1-B264-B5F5C67AB1FF}"/>
                </a:ext>
              </a:extLst>
            </p:cNvPr>
            <p:cNvSpPr>
              <a:spLocks noEditPoints="1"/>
            </p:cNvSpPr>
            <p:nvPr/>
          </p:nvSpPr>
          <p:spPr bwMode="auto">
            <a:xfrm>
              <a:off x="390342" y="2736794"/>
              <a:ext cx="1121142" cy="1147708"/>
            </a:xfrm>
            <a:custGeom>
              <a:avLst/>
              <a:gdLst>
                <a:gd name="T0" fmla="*/ 0 w 1780"/>
                <a:gd name="T1" fmla="*/ 1199 h 1820"/>
                <a:gd name="T2" fmla="*/ 79 w 1780"/>
                <a:gd name="T3" fmla="*/ 888 h 1820"/>
                <a:gd name="T4" fmla="*/ 42 w 1780"/>
                <a:gd name="T5" fmla="*/ 924 h 1820"/>
                <a:gd name="T6" fmla="*/ 128 w 1780"/>
                <a:gd name="T7" fmla="*/ 452 h 1820"/>
                <a:gd name="T8" fmla="*/ 164 w 1780"/>
                <a:gd name="T9" fmla="*/ 488 h 1820"/>
                <a:gd name="T10" fmla="*/ 223 w 1780"/>
                <a:gd name="T11" fmla="*/ 452 h 1820"/>
                <a:gd name="T12" fmla="*/ 407 w 1780"/>
                <a:gd name="T13" fmla="*/ 165 h 1820"/>
                <a:gd name="T14" fmla="*/ 370 w 1780"/>
                <a:gd name="T15" fmla="*/ 201 h 1820"/>
                <a:gd name="T16" fmla="*/ 208 w 1780"/>
                <a:gd name="T17" fmla="*/ 531 h 1820"/>
                <a:gd name="T18" fmla="*/ 244 w 1780"/>
                <a:gd name="T19" fmla="*/ 567 h 1820"/>
                <a:gd name="T20" fmla="*/ 10 w 1780"/>
                <a:gd name="T21" fmla="*/ 1335 h 1820"/>
                <a:gd name="T22" fmla="*/ 190 w 1780"/>
                <a:gd name="T23" fmla="*/ 1274 h 1820"/>
                <a:gd name="T24" fmla="*/ 154 w 1780"/>
                <a:gd name="T25" fmla="*/ 1310 h 1820"/>
                <a:gd name="T26" fmla="*/ 189 w 1780"/>
                <a:gd name="T27" fmla="*/ 337 h 1820"/>
                <a:gd name="T28" fmla="*/ 225 w 1780"/>
                <a:gd name="T29" fmla="*/ 373 h 1820"/>
                <a:gd name="T30" fmla="*/ 436 w 1780"/>
                <a:gd name="T31" fmla="*/ 189 h 1820"/>
                <a:gd name="T32" fmla="*/ 748 w 1780"/>
                <a:gd name="T33" fmla="*/ 36 h 1820"/>
                <a:gd name="T34" fmla="*/ 711 w 1780"/>
                <a:gd name="T35" fmla="*/ 72 h 1820"/>
                <a:gd name="T36" fmla="*/ 773 w 1780"/>
                <a:gd name="T37" fmla="*/ 108 h 1820"/>
                <a:gd name="T38" fmla="*/ 810 w 1780"/>
                <a:gd name="T39" fmla="*/ 144 h 1820"/>
                <a:gd name="T40" fmla="*/ 783 w 1780"/>
                <a:gd name="T41" fmla="*/ 53 h 1820"/>
                <a:gd name="T42" fmla="*/ 1708 w 1780"/>
                <a:gd name="T43" fmla="*/ 1199 h 1820"/>
                <a:gd name="T44" fmla="*/ 1745 w 1780"/>
                <a:gd name="T45" fmla="*/ 1163 h 1820"/>
                <a:gd name="T46" fmla="*/ 1738 w 1780"/>
                <a:gd name="T47" fmla="*/ 924 h 1820"/>
                <a:gd name="T48" fmla="*/ 1701 w 1780"/>
                <a:gd name="T49" fmla="*/ 888 h 1820"/>
                <a:gd name="T50" fmla="*/ 1688 w 1780"/>
                <a:gd name="T51" fmla="*/ 488 h 1820"/>
                <a:gd name="T52" fmla="*/ 1485 w 1780"/>
                <a:gd name="T53" fmla="*/ 452 h 1820"/>
                <a:gd name="T54" fmla="*/ 1521 w 1780"/>
                <a:gd name="T55" fmla="*/ 416 h 1820"/>
                <a:gd name="T56" fmla="*/ 1410 w 1780"/>
                <a:gd name="T57" fmla="*/ 201 h 1820"/>
                <a:gd name="T58" fmla="*/ 1373 w 1780"/>
                <a:gd name="T59" fmla="*/ 165 h 1820"/>
                <a:gd name="T60" fmla="*/ 1608 w 1780"/>
                <a:gd name="T61" fmla="*/ 567 h 1820"/>
                <a:gd name="T62" fmla="*/ 1698 w 1780"/>
                <a:gd name="T63" fmla="*/ 1335 h 1820"/>
                <a:gd name="T64" fmla="*/ 1734 w 1780"/>
                <a:gd name="T65" fmla="*/ 1299 h 1820"/>
                <a:gd name="T66" fmla="*/ 1626 w 1780"/>
                <a:gd name="T67" fmla="*/ 1310 h 1820"/>
                <a:gd name="T68" fmla="*/ 1590 w 1780"/>
                <a:gd name="T69" fmla="*/ 1274 h 1820"/>
                <a:gd name="T70" fmla="*/ 1627 w 1780"/>
                <a:gd name="T71" fmla="*/ 373 h 1820"/>
                <a:gd name="T72" fmla="*/ 1272 w 1780"/>
                <a:gd name="T73" fmla="*/ 189 h 1820"/>
                <a:gd name="T74" fmla="*/ 1309 w 1780"/>
                <a:gd name="T75" fmla="*/ 153 h 1820"/>
                <a:gd name="T76" fmla="*/ 1069 w 1780"/>
                <a:gd name="T77" fmla="*/ 72 h 1820"/>
                <a:gd name="T78" fmla="*/ 1032 w 1780"/>
                <a:gd name="T79" fmla="*/ 36 h 1820"/>
                <a:gd name="T80" fmla="*/ 1042 w 1780"/>
                <a:gd name="T81" fmla="*/ 144 h 1820"/>
                <a:gd name="T82" fmla="*/ 925 w 1780"/>
                <a:gd name="T83" fmla="*/ 53 h 1820"/>
                <a:gd name="T84" fmla="*/ 961 w 1780"/>
                <a:gd name="T85" fmla="*/ 17 h 1820"/>
                <a:gd name="T86" fmla="*/ 405 w 1780"/>
                <a:gd name="T87" fmla="*/ 1656 h 1820"/>
                <a:gd name="T88" fmla="*/ 158 w 1780"/>
                <a:gd name="T89" fmla="*/ 1820 h 1820"/>
                <a:gd name="T90" fmla="*/ 789 w 1780"/>
                <a:gd name="T91" fmla="*/ 1469 h 1820"/>
                <a:gd name="T92" fmla="*/ 989 w 1780"/>
                <a:gd name="T93" fmla="*/ 1469 h 1820"/>
                <a:gd name="T94" fmla="*/ 1622 w 1780"/>
                <a:gd name="T95" fmla="*/ 1820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0" h="1820">
                  <a:moveTo>
                    <a:pt x="72" y="1199"/>
                  </a:moveTo>
                  <a:cubicBezTo>
                    <a:pt x="72" y="1218"/>
                    <a:pt x="56" y="1235"/>
                    <a:pt x="35" y="1235"/>
                  </a:cubicBezTo>
                  <a:cubicBezTo>
                    <a:pt x="16" y="1235"/>
                    <a:pt x="0" y="1218"/>
                    <a:pt x="0" y="1199"/>
                  </a:cubicBezTo>
                  <a:cubicBezTo>
                    <a:pt x="0" y="1179"/>
                    <a:pt x="16" y="1163"/>
                    <a:pt x="35" y="1163"/>
                  </a:cubicBezTo>
                  <a:cubicBezTo>
                    <a:pt x="56" y="1163"/>
                    <a:pt x="72" y="1179"/>
                    <a:pt x="72" y="1199"/>
                  </a:cubicBezTo>
                  <a:close/>
                  <a:moveTo>
                    <a:pt x="79" y="888"/>
                  </a:moveTo>
                  <a:cubicBezTo>
                    <a:pt x="79" y="868"/>
                    <a:pt x="63" y="852"/>
                    <a:pt x="42" y="852"/>
                  </a:cubicBezTo>
                  <a:cubicBezTo>
                    <a:pt x="23" y="852"/>
                    <a:pt x="7" y="868"/>
                    <a:pt x="7" y="888"/>
                  </a:cubicBezTo>
                  <a:cubicBezTo>
                    <a:pt x="7" y="907"/>
                    <a:pt x="23" y="924"/>
                    <a:pt x="42" y="924"/>
                  </a:cubicBezTo>
                  <a:cubicBezTo>
                    <a:pt x="63" y="924"/>
                    <a:pt x="79" y="907"/>
                    <a:pt x="79" y="888"/>
                  </a:cubicBezTo>
                  <a:close/>
                  <a:moveTo>
                    <a:pt x="164" y="488"/>
                  </a:moveTo>
                  <a:cubicBezTo>
                    <a:pt x="164" y="468"/>
                    <a:pt x="148" y="452"/>
                    <a:pt x="128" y="452"/>
                  </a:cubicBezTo>
                  <a:cubicBezTo>
                    <a:pt x="109" y="452"/>
                    <a:pt x="92" y="468"/>
                    <a:pt x="92" y="488"/>
                  </a:cubicBezTo>
                  <a:cubicBezTo>
                    <a:pt x="92" y="507"/>
                    <a:pt x="109" y="524"/>
                    <a:pt x="128" y="524"/>
                  </a:cubicBezTo>
                  <a:cubicBezTo>
                    <a:pt x="148" y="524"/>
                    <a:pt x="164" y="507"/>
                    <a:pt x="164" y="488"/>
                  </a:cubicBezTo>
                  <a:close/>
                  <a:moveTo>
                    <a:pt x="295" y="452"/>
                  </a:moveTo>
                  <a:cubicBezTo>
                    <a:pt x="295" y="432"/>
                    <a:pt x="279" y="416"/>
                    <a:pt x="259" y="416"/>
                  </a:cubicBezTo>
                  <a:cubicBezTo>
                    <a:pt x="239" y="416"/>
                    <a:pt x="223" y="432"/>
                    <a:pt x="223" y="452"/>
                  </a:cubicBezTo>
                  <a:cubicBezTo>
                    <a:pt x="223" y="471"/>
                    <a:pt x="239" y="488"/>
                    <a:pt x="259" y="488"/>
                  </a:cubicBezTo>
                  <a:cubicBezTo>
                    <a:pt x="279" y="488"/>
                    <a:pt x="295" y="471"/>
                    <a:pt x="295" y="452"/>
                  </a:cubicBezTo>
                  <a:close/>
                  <a:moveTo>
                    <a:pt x="407" y="165"/>
                  </a:moveTo>
                  <a:cubicBezTo>
                    <a:pt x="407" y="145"/>
                    <a:pt x="391" y="129"/>
                    <a:pt x="370" y="129"/>
                  </a:cubicBezTo>
                  <a:cubicBezTo>
                    <a:pt x="351" y="129"/>
                    <a:pt x="335" y="145"/>
                    <a:pt x="335" y="165"/>
                  </a:cubicBezTo>
                  <a:cubicBezTo>
                    <a:pt x="335" y="184"/>
                    <a:pt x="351" y="201"/>
                    <a:pt x="370" y="201"/>
                  </a:cubicBezTo>
                  <a:cubicBezTo>
                    <a:pt x="391" y="201"/>
                    <a:pt x="407" y="184"/>
                    <a:pt x="407" y="165"/>
                  </a:cubicBezTo>
                  <a:close/>
                  <a:moveTo>
                    <a:pt x="244" y="567"/>
                  </a:moveTo>
                  <a:cubicBezTo>
                    <a:pt x="244" y="547"/>
                    <a:pt x="228" y="531"/>
                    <a:pt x="208" y="531"/>
                  </a:cubicBezTo>
                  <a:cubicBezTo>
                    <a:pt x="189" y="531"/>
                    <a:pt x="172" y="547"/>
                    <a:pt x="172" y="567"/>
                  </a:cubicBezTo>
                  <a:cubicBezTo>
                    <a:pt x="172" y="586"/>
                    <a:pt x="189" y="603"/>
                    <a:pt x="208" y="603"/>
                  </a:cubicBezTo>
                  <a:cubicBezTo>
                    <a:pt x="228" y="603"/>
                    <a:pt x="244" y="586"/>
                    <a:pt x="244" y="567"/>
                  </a:cubicBezTo>
                  <a:close/>
                  <a:moveTo>
                    <a:pt x="82" y="1335"/>
                  </a:moveTo>
                  <a:cubicBezTo>
                    <a:pt x="82" y="1314"/>
                    <a:pt x="66" y="1299"/>
                    <a:pt x="46" y="1299"/>
                  </a:cubicBezTo>
                  <a:cubicBezTo>
                    <a:pt x="27" y="1299"/>
                    <a:pt x="10" y="1314"/>
                    <a:pt x="10" y="1335"/>
                  </a:cubicBezTo>
                  <a:cubicBezTo>
                    <a:pt x="10" y="1354"/>
                    <a:pt x="27" y="1371"/>
                    <a:pt x="46" y="1371"/>
                  </a:cubicBezTo>
                  <a:cubicBezTo>
                    <a:pt x="66" y="1371"/>
                    <a:pt x="82" y="1354"/>
                    <a:pt x="82" y="1335"/>
                  </a:cubicBezTo>
                  <a:close/>
                  <a:moveTo>
                    <a:pt x="190" y="1274"/>
                  </a:moveTo>
                  <a:cubicBezTo>
                    <a:pt x="190" y="1253"/>
                    <a:pt x="174" y="1238"/>
                    <a:pt x="154" y="1238"/>
                  </a:cubicBezTo>
                  <a:cubicBezTo>
                    <a:pt x="135" y="1238"/>
                    <a:pt x="118" y="1253"/>
                    <a:pt x="118" y="1274"/>
                  </a:cubicBezTo>
                  <a:cubicBezTo>
                    <a:pt x="118" y="1293"/>
                    <a:pt x="135" y="1310"/>
                    <a:pt x="154" y="1310"/>
                  </a:cubicBezTo>
                  <a:cubicBezTo>
                    <a:pt x="174" y="1310"/>
                    <a:pt x="190" y="1293"/>
                    <a:pt x="190" y="1274"/>
                  </a:cubicBezTo>
                  <a:close/>
                  <a:moveTo>
                    <a:pt x="225" y="373"/>
                  </a:moveTo>
                  <a:cubicBezTo>
                    <a:pt x="225" y="353"/>
                    <a:pt x="209" y="337"/>
                    <a:pt x="189" y="337"/>
                  </a:cubicBezTo>
                  <a:cubicBezTo>
                    <a:pt x="170" y="337"/>
                    <a:pt x="153" y="353"/>
                    <a:pt x="153" y="373"/>
                  </a:cubicBezTo>
                  <a:cubicBezTo>
                    <a:pt x="153" y="392"/>
                    <a:pt x="170" y="409"/>
                    <a:pt x="189" y="409"/>
                  </a:cubicBezTo>
                  <a:cubicBezTo>
                    <a:pt x="209" y="409"/>
                    <a:pt x="225" y="392"/>
                    <a:pt x="225" y="373"/>
                  </a:cubicBezTo>
                  <a:close/>
                  <a:moveTo>
                    <a:pt x="508" y="189"/>
                  </a:moveTo>
                  <a:cubicBezTo>
                    <a:pt x="508" y="169"/>
                    <a:pt x="492" y="153"/>
                    <a:pt x="471" y="153"/>
                  </a:cubicBezTo>
                  <a:cubicBezTo>
                    <a:pt x="452" y="153"/>
                    <a:pt x="436" y="169"/>
                    <a:pt x="436" y="189"/>
                  </a:cubicBezTo>
                  <a:cubicBezTo>
                    <a:pt x="436" y="209"/>
                    <a:pt x="452" y="225"/>
                    <a:pt x="471" y="225"/>
                  </a:cubicBezTo>
                  <a:cubicBezTo>
                    <a:pt x="492" y="225"/>
                    <a:pt x="508" y="209"/>
                    <a:pt x="508" y="189"/>
                  </a:cubicBezTo>
                  <a:close/>
                  <a:moveTo>
                    <a:pt x="748" y="36"/>
                  </a:moveTo>
                  <a:cubicBezTo>
                    <a:pt x="748" y="16"/>
                    <a:pt x="732" y="0"/>
                    <a:pt x="711" y="0"/>
                  </a:cubicBezTo>
                  <a:cubicBezTo>
                    <a:pt x="692" y="0"/>
                    <a:pt x="676" y="16"/>
                    <a:pt x="676" y="36"/>
                  </a:cubicBezTo>
                  <a:cubicBezTo>
                    <a:pt x="676" y="55"/>
                    <a:pt x="692" y="72"/>
                    <a:pt x="711" y="72"/>
                  </a:cubicBezTo>
                  <a:cubicBezTo>
                    <a:pt x="732" y="72"/>
                    <a:pt x="748" y="55"/>
                    <a:pt x="748" y="36"/>
                  </a:cubicBezTo>
                  <a:close/>
                  <a:moveTo>
                    <a:pt x="810" y="144"/>
                  </a:moveTo>
                  <a:cubicBezTo>
                    <a:pt x="810" y="124"/>
                    <a:pt x="794" y="108"/>
                    <a:pt x="773" y="108"/>
                  </a:cubicBezTo>
                  <a:cubicBezTo>
                    <a:pt x="754" y="108"/>
                    <a:pt x="738" y="124"/>
                    <a:pt x="738" y="144"/>
                  </a:cubicBezTo>
                  <a:cubicBezTo>
                    <a:pt x="738" y="163"/>
                    <a:pt x="754" y="180"/>
                    <a:pt x="773" y="180"/>
                  </a:cubicBezTo>
                  <a:cubicBezTo>
                    <a:pt x="794" y="180"/>
                    <a:pt x="810" y="163"/>
                    <a:pt x="810" y="144"/>
                  </a:cubicBezTo>
                  <a:close/>
                  <a:moveTo>
                    <a:pt x="855" y="53"/>
                  </a:moveTo>
                  <a:cubicBezTo>
                    <a:pt x="855" y="33"/>
                    <a:pt x="839" y="17"/>
                    <a:pt x="819" y="17"/>
                  </a:cubicBezTo>
                  <a:cubicBezTo>
                    <a:pt x="799" y="17"/>
                    <a:pt x="783" y="33"/>
                    <a:pt x="783" y="53"/>
                  </a:cubicBezTo>
                  <a:cubicBezTo>
                    <a:pt x="783" y="73"/>
                    <a:pt x="799" y="89"/>
                    <a:pt x="819" y="89"/>
                  </a:cubicBezTo>
                  <a:cubicBezTo>
                    <a:pt x="839" y="89"/>
                    <a:pt x="855" y="73"/>
                    <a:pt x="855" y="53"/>
                  </a:cubicBezTo>
                  <a:close/>
                  <a:moveTo>
                    <a:pt x="1708" y="1199"/>
                  </a:moveTo>
                  <a:cubicBezTo>
                    <a:pt x="1708" y="1218"/>
                    <a:pt x="1724" y="1235"/>
                    <a:pt x="1745" y="1235"/>
                  </a:cubicBezTo>
                  <a:cubicBezTo>
                    <a:pt x="1764" y="1235"/>
                    <a:pt x="1780" y="1218"/>
                    <a:pt x="1780" y="1199"/>
                  </a:cubicBezTo>
                  <a:cubicBezTo>
                    <a:pt x="1780" y="1179"/>
                    <a:pt x="1764" y="1163"/>
                    <a:pt x="1745" y="1163"/>
                  </a:cubicBezTo>
                  <a:cubicBezTo>
                    <a:pt x="1724" y="1163"/>
                    <a:pt x="1708" y="1179"/>
                    <a:pt x="1708" y="1199"/>
                  </a:cubicBezTo>
                  <a:close/>
                  <a:moveTo>
                    <a:pt x="1701" y="888"/>
                  </a:moveTo>
                  <a:cubicBezTo>
                    <a:pt x="1701" y="907"/>
                    <a:pt x="1717" y="924"/>
                    <a:pt x="1738" y="924"/>
                  </a:cubicBezTo>
                  <a:cubicBezTo>
                    <a:pt x="1757" y="924"/>
                    <a:pt x="1773" y="907"/>
                    <a:pt x="1773" y="888"/>
                  </a:cubicBezTo>
                  <a:cubicBezTo>
                    <a:pt x="1773" y="868"/>
                    <a:pt x="1757" y="852"/>
                    <a:pt x="1738" y="852"/>
                  </a:cubicBezTo>
                  <a:cubicBezTo>
                    <a:pt x="1717" y="852"/>
                    <a:pt x="1701" y="868"/>
                    <a:pt x="1701" y="888"/>
                  </a:cubicBezTo>
                  <a:close/>
                  <a:moveTo>
                    <a:pt x="1616" y="488"/>
                  </a:moveTo>
                  <a:cubicBezTo>
                    <a:pt x="1616" y="507"/>
                    <a:pt x="1632" y="524"/>
                    <a:pt x="1652" y="524"/>
                  </a:cubicBezTo>
                  <a:cubicBezTo>
                    <a:pt x="1671" y="524"/>
                    <a:pt x="1688" y="507"/>
                    <a:pt x="1688" y="488"/>
                  </a:cubicBezTo>
                  <a:cubicBezTo>
                    <a:pt x="1688" y="468"/>
                    <a:pt x="1671" y="452"/>
                    <a:pt x="1652" y="452"/>
                  </a:cubicBezTo>
                  <a:cubicBezTo>
                    <a:pt x="1632" y="452"/>
                    <a:pt x="1616" y="468"/>
                    <a:pt x="1616" y="488"/>
                  </a:cubicBezTo>
                  <a:close/>
                  <a:moveTo>
                    <a:pt x="1485" y="452"/>
                  </a:moveTo>
                  <a:cubicBezTo>
                    <a:pt x="1485" y="471"/>
                    <a:pt x="1501" y="488"/>
                    <a:pt x="1521" y="488"/>
                  </a:cubicBezTo>
                  <a:cubicBezTo>
                    <a:pt x="1541" y="488"/>
                    <a:pt x="1557" y="471"/>
                    <a:pt x="1557" y="452"/>
                  </a:cubicBezTo>
                  <a:cubicBezTo>
                    <a:pt x="1557" y="432"/>
                    <a:pt x="1541" y="416"/>
                    <a:pt x="1521" y="416"/>
                  </a:cubicBezTo>
                  <a:cubicBezTo>
                    <a:pt x="1501" y="416"/>
                    <a:pt x="1485" y="432"/>
                    <a:pt x="1485" y="452"/>
                  </a:cubicBezTo>
                  <a:close/>
                  <a:moveTo>
                    <a:pt x="1373" y="165"/>
                  </a:moveTo>
                  <a:cubicBezTo>
                    <a:pt x="1373" y="184"/>
                    <a:pt x="1389" y="201"/>
                    <a:pt x="1410" y="201"/>
                  </a:cubicBezTo>
                  <a:cubicBezTo>
                    <a:pt x="1429" y="201"/>
                    <a:pt x="1445" y="184"/>
                    <a:pt x="1445" y="165"/>
                  </a:cubicBezTo>
                  <a:cubicBezTo>
                    <a:pt x="1445" y="145"/>
                    <a:pt x="1429" y="129"/>
                    <a:pt x="1410" y="129"/>
                  </a:cubicBezTo>
                  <a:cubicBezTo>
                    <a:pt x="1389" y="129"/>
                    <a:pt x="1373" y="145"/>
                    <a:pt x="1373" y="165"/>
                  </a:cubicBezTo>
                  <a:close/>
                  <a:moveTo>
                    <a:pt x="1536" y="567"/>
                  </a:moveTo>
                  <a:cubicBezTo>
                    <a:pt x="1536" y="586"/>
                    <a:pt x="1552" y="603"/>
                    <a:pt x="1572" y="603"/>
                  </a:cubicBezTo>
                  <a:cubicBezTo>
                    <a:pt x="1591" y="603"/>
                    <a:pt x="1608" y="586"/>
                    <a:pt x="1608" y="567"/>
                  </a:cubicBezTo>
                  <a:cubicBezTo>
                    <a:pt x="1608" y="547"/>
                    <a:pt x="1591" y="531"/>
                    <a:pt x="1572" y="531"/>
                  </a:cubicBezTo>
                  <a:cubicBezTo>
                    <a:pt x="1552" y="531"/>
                    <a:pt x="1536" y="547"/>
                    <a:pt x="1536" y="567"/>
                  </a:cubicBezTo>
                  <a:close/>
                  <a:moveTo>
                    <a:pt x="1698" y="1335"/>
                  </a:moveTo>
                  <a:cubicBezTo>
                    <a:pt x="1698" y="1354"/>
                    <a:pt x="1714" y="1371"/>
                    <a:pt x="1734" y="1371"/>
                  </a:cubicBezTo>
                  <a:cubicBezTo>
                    <a:pt x="1753" y="1371"/>
                    <a:pt x="1770" y="1354"/>
                    <a:pt x="1770" y="1335"/>
                  </a:cubicBezTo>
                  <a:cubicBezTo>
                    <a:pt x="1770" y="1314"/>
                    <a:pt x="1753" y="1299"/>
                    <a:pt x="1734" y="1299"/>
                  </a:cubicBezTo>
                  <a:cubicBezTo>
                    <a:pt x="1714" y="1299"/>
                    <a:pt x="1698" y="1314"/>
                    <a:pt x="1698" y="1335"/>
                  </a:cubicBezTo>
                  <a:close/>
                  <a:moveTo>
                    <a:pt x="1590" y="1274"/>
                  </a:moveTo>
                  <a:cubicBezTo>
                    <a:pt x="1590" y="1293"/>
                    <a:pt x="1606" y="1310"/>
                    <a:pt x="1626" y="1310"/>
                  </a:cubicBezTo>
                  <a:cubicBezTo>
                    <a:pt x="1645" y="1310"/>
                    <a:pt x="1662" y="1293"/>
                    <a:pt x="1662" y="1274"/>
                  </a:cubicBezTo>
                  <a:cubicBezTo>
                    <a:pt x="1662" y="1253"/>
                    <a:pt x="1645" y="1238"/>
                    <a:pt x="1626" y="1238"/>
                  </a:cubicBezTo>
                  <a:cubicBezTo>
                    <a:pt x="1606" y="1238"/>
                    <a:pt x="1590" y="1253"/>
                    <a:pt x="1590" y="1274"/>
                  </a:cubicBezTo>
                  <a:close/>
                  <a:moveTo>
                    <a:pt x="1555" y="373"/>
                  </a:moveTo>
                  <a:cubicBezTo>
                    <a:pt x="1555" y="392"/>
                    <a:pt x="1571" y="409"/>
                    <a:pt x="1591" y="409"/>
                  </a:cubicBezTo>
                  <a:cubicBezTo>
                    <a:pt x="1610" y="409"/>
                    <a:pt x="1627" y="392"/>
                    <a:pt x="1627" y="373"/>
                  </a:cubicBezTo>
                  <a:cubicBezTo>
                    <a:pt x="1627" y="353"/>
                    <a:pt x="1610" y="337"/>
                    <a:pt x="1591" y="337"/>
                  </a:cubicBezTo>
                  <a:cubicBezTo>
                    <a:pt x="1571" y="337"/>
                    <a:pt x="1555" y="353"/>
                    <a:pt x="1555" y="373"/>
                  </a:cubicBezTo>
                  <a:close/>
                  <a:moveTo>
                    <a:pt x="1272" y="189"/>
                  </a:moveTo>
                  <a:cubicBezTo>
                    <a:pt x="1272" y="209"/>
                    <a:pt x="1288" y="225"/>
                    <a:pt x="1309" y="225"/>
                  </a:cubicBezTo>
                  <a:cubicBezTo>
                    <a:pt x="1328" y="225"/>
                    <a:pt x="1344" y="209"/>
                    <a:pt x="1344" y="189"/>
                  </a:cubicBezTo>
                  <a:cubicBezTo>
                    <a:pt x="1344" y="169"/>
                    <a:pt x="1328" y="153"/>
                    <a:pt x="1309" y="153"/>
                  </a:cubicBezTo>
                  <a:cubicBezTo>
                    <a:pt x="1288" y="153"/>
                    <a:pt x="1272" y="169"/>
                    <a:pt x="1272" y="189"/>
                  </a:cubicBezTo>
                  <a:close/>
                  <a:moveTo>
                    <a:pt x="1032" y="36"/>
                  </a:moveTo>
                  <a:cubicBezTo>
                    <a:pt x="1032" y="55"/>
                    <a:pt x="1048" y="72"/>
                    <a:pt x="1069" y="72"/>
                  </a:cubicBezTo>
                  <a:cubicBezTo>
                    <a:pt x="1088" y="72"/>
                    <a:pt x="1104" y="55"/>
                    <a:pt x="1104" y="36"/>
                  </a:cubicBezTo>
                  <a:cubicBezTo>
                    <a:pt x="1104" y="16"/>
                    <a:pt x="1088" y="0"/>
                    <a:pt x="1069" y="0"/>
                  </a:cubicBezTo>
                  <a:cubicBezTo>
                    <a:pt x="1048" y="0"/>
                    <a:pt x="1032" y="16"/>
                    <a:pt x="1032" y="36"/>
                  </a:cubicBezTo>
                  <a:close/>
                  <a:moveTo>
                    <a:pt x="970" y="144"/>
                  </a:moveTo>
                  <a:cubicBezTo>
                    <a:pt x="970" y="163"/>
                    <a:pt x="986" y="180"/>
                    <a:pt x="1007" y="180"/>
                  </a:cubicBezTo>
                  <a:cubicBezTo>
                    <a:pt x="1026" y="180"/>
                    <a:pt x="1042" y="163"/>
                    <a:pt x="1042" y="144"/>
                  </a:cubicBezTo>
                  <a:cubicBezTo>
                    <a:pt x="1042" y="124"/>
                    <a:pt x="1026" y="108"/>
                    <a:pt x="1007" y="108"/>
                  </a:cubicBezTo>
                  <a:cubicBezTo>
                    <a:pt x="986" y="108"/>
                    <a:pt x="970" y="124"/>
                    <a:pt x="970" y="144"/>
                  </a:cubicBezTo>
                  <a:close/>
                  <a:moveTo>
                    <a:pt x="925" y="53"/>
                  </a:moveTo>
                  <a:cubicBezTo>
                    <a:pt x="925" y="73"/>
                    <a:pt x="941" y="89"/>
                    <a:pt x="961" y="89"/>
                  </a:cubicBezTo>
                  <a:cubicBezTo>
                    <a:pt x="981" y="89"/>
                    <a:pt x="997" y="73"/>
                    <a:pt x="997" y="53"/>
                  </a:cubicBezTo>
                  <a:cubicBezTo>
                    <a:pt x="997" y="33"/>
                    <a:pt x="981" y="17"/>
                    <a:pt x="961" y="17"/>
                  </a:cubicBezTo>
                  <a:cubicBezTo>
                    <a:pt x="941" y="17"/>
                    <a:pt x="925" y="33"/>
                    <a:pt x="925" y="53"/>
                  </a:cubicBezTo>
                  <a:close/>
                  <a:moveTo>
                    <a:pt x="789" y="1469"/>
                  </a:moveTo>
                  <a:cubicBezTo>
                    <a:pt x="632" y="1496"/>
                    <a:pt x="508" y="1583"/>
                    <a:pt x="405" y="1656"/>
                  </a:cubicBezTo>
                  <a:cubicBezTo>
                    <a:pt x="314" y="1720"/>
                    <a:pt x="235" y="1776"/>
                    <a:pt x="158" y="1776"/>
                  </a:cubicBezTo>
                  <a:cubicBezTo>
                    <a:pt x="145" y="1776"/>
                    <a:pt x="136" y="1786"/>
                    <a:pt x="136" y="1798"/>
                  </a:cubicBezTo>
                  <a:cubicBezTo>
                    <a:pt x="136" y="1810"/>
                    <a:pt x="145" y="1820"/>
                    <a:pt x="158" y="1820"/>
                  </a:cubicBezTo>
                  <a:cubicBezTo>
                    <a:pt x="249" y="1820"/>
                    <a:pt x="333" y="1761"/>
                    <a:pt x="431" y="1692"/>
                  </a:cubicBezTo>
                  <a:cubicBezTo>
                    <a:pt x="532" y="1620"/>
                    <a:pt x="645" y="1541"/>
                    <a:pt x="788" y="1514"/>
                  </a:cubicBezTo>
                  <a:lnTo>
                    <a:pt x="789" y="1469"/>
                  </a:lnTo>
                  <a:close/>
                  <a:moveTo>
                    <a:pt x="1622" y="1776"/>
                  </a:moveTo>
                  <a:cubicBezTo>
                    <a:pt x="1545" y="1776"/>
                    <a:pt x="1466" y="1720"/>
                    <a:pt x="1375" y="1656"/>
                  </a:cubicBezTo>
                  <a:cubicBezTo>
                    <a:pt x="1272" y="1583"/>
                    <a:pt x="1148" y="1496"/>
                    <a:pt x="989" y="1469"/>
                  </a:cubicBezTo>
                  <a:cubicBezTo>
                    <a:pt x="991" y="1513"/>
                    <a:pt x="991" y="1513"/>
                    <a:pt x="991" y="1513"/>
                  </a:cubicBezTo>
                  <a:cubicBezTo>
                    <a:pt x="1134" y="1540"/>
                    <a:pt x="1247" y="1620"/>
                    <a:pt x="1349" y="1692"/>
                  </a:cubicBezTo>
                  <a:cubicBezTo>
                    <a:pt x="1447" y="1761"/>
                    <a:pt x="1531" y="1820"/>
                    <a:pt x="1622" y="1820"/>
                  </a:cubicBezTo>
                  <a:cubicBezTo>
                    <a:pt x="1635" y="1820"/>
                    <a:pt x="1644" y="1810"/>
                    <a:pt x="1644" y="1798"/>
                  </a:cubicBezTo>
                  <a:cubicBezTo>
                    <a:pt x="1644" y="1786"/>
                    <a:pt x="1635" y="1776"/>
                    <a:pt x="1622" y="1776"/>
                  </a:cubicBezTo>
                  <a:close/>
                </a:path>
              </a:pathLst>
            </a:custGeom>
            <a:noFill/>
            <a:ln>
              <a:noFill/>
            </a:ln>
            <a:extLst>
              <a:ext uri="{909E8E84-426E-40DD-AFC4-6F175D3DCCD1}">
                <a14:hiddenFill xmlns:a14="http://schemas.microsoft.com/office/drawing/2010/main">
                  <a:solidFill>
                    <a:srgbClr val="F2F2F2">
                      <a:alpha val="20000"/>
                    </a:srgbClr>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295E7E"/>
                </a:solidFill>
              </a:endParaRPr>
            </a:p>
          </p:txBody>
        </p:sp>
        <p:sp>
          <p:nvSpPr>
            <p:cNvPr id="56" name="TextBox 55">
              <a:extLst>
                <a:ext uri="{FF2B5EF4-FFF2-40B4-BE49-F238E27FC236}">
                  <a16:creationId xmlns:a16="http://schemas.microsoft.com/office/drawing/2014/main" id="{A6F1FE3A-108B-4A40-9B1B-835C3507105A}"/>
                </a:ext>
              </a:extLst>
            </p:cNvPr>
            <p:cNvSpPr txBox="1"/>
            <p:nvPr/>
          </p:nvSpPr>
          <p:spPr>
            <a:xfrm>
              <a:off x="161925" y="3125982"/>
              <a:ext cx="1577976" cy="369332"/>
            </a:xfrm>
            <a:prstGeom prst="rect">
              <a:avLst/>
            </a:prstGeom>
            <a:noFill/>
          </p:spPr>
          <p:txBody>
            <a:bodyPr wrap="square" rtlCol="0" anchor="ctr">
              <a:noAutofit/>
            </a:bodyPr>
            <a:lstStyle/>
            <a:p>
              <a:pPr algn="ctr"/>
              <a:r>
                <a:rPr kumimoji="1" lang="ja-JP" altLang="en-US" sz="1800" dirty="0">
                  <a:solidFill>
                    <a:srgbClr val="295E7E"/>
                  </a:solidFill>
                </a:rPr>
                <a:t>本事業への</a:t>
              </a:r>
              <a:br>
                <a:rPr kumimoji="1" lang="en-US" altLang="ja-JP" sz="1800" dirty="0">
                  <a:solidFill>
                    <a:srgbClr val="295E7E"/>
                  </a:solidFill>
                </a:rPr>
              </a:br>
              <a:r>
                <a:rPr kumimoji="1" lang="ja-JP" altLang="en-US" sz="1800" dirty="0">
                  <a:solidFill>
                    <a:srgbClr val="295E7E"/>
                  </a:solidFill>
                </a:rPr>
                <a:t>コミットメント</a:t>
              </a:r>
              <a:endParaRPr kumimoji="1" lang="en-US" sz="1800" dirty="0">
                <a:solidFill>
                  <a:srgbClr val="295E7E"/>
                </a:solidFill>
              </a:endParaRPr>
            </a:p>
          </p:txBody>
        </p:sp>
      </p:grpSp>
      <p:sp>
        <p:nvSpPr>
          <p:cNvPr id="6" name="Rectangle 5">
            <a:extLst>
              <a:ext uri="{FF2B5EF4-FFF2-40B4-BE49-F238E27FC236}">
                <a16:creationId xmlns:a16="http://schemas.microsoft.com/office/drawing/2014/main" id="{15C787F8-536A-46A2-9B0B-24C9753D7244}"/>
              </a:ext>
            </a:extLst>
          </p:cNvPr>
          <p:cNvSpPr/>
          <p:nvPr/>
        </p:nvSpPr>
        <p:spPr>
          <a:xfrm>
            <a:off x="3362766" y="4027436"/>
            <a:ext cx="7168761" cy="9338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en-US" altLang="ja-JP" sz="1600" dirty="0">
                <a:solidFill>
                  <a:schemeClr val="tx1">
                    <a:lumMod val="100000"/>
                  </a:schemeClr>
                </a:solidFill>
                <a:latin typeface="Trebuchet MS" panose="020B0603020202020204" pitchFamily="34" charset="0"/>
                <a:ea typeface="Meiryo UI" panose="020B0604030504040204" pitchFamily="50" charset="-128"/>
              </a:rPr>
              <a:t>CEO</a:t>
            </a:r>
            <a:r>
              <a:rPr lang="ja-JP" altLang="en-US" sz="1600" dirty="0">
                <a:solidFill>
                  <a:schemeClr val="tx1">
                    <a:lumMod val="100000"/>
                  </a:schemeClr>
                </a:solidFill>
                <a:latin typeface="Trebuchet MS" panose="020B0603020202020204" pitchFamily="34" charset="0"/>
                <a:ea typeface="Meiryo UI" panose="020B0604030504040204" pitchFamily="50" charset="-128"/>
              </a:rPr>
              <a:t>等の経営トップも含めて本事業に取り組むコミットをしており、社として</a:t>
            </a:r>
            <a:r>
              <a:rPr lang="en-US" altLang="ja-JP" sz="1600" baseline="30000" dirty="0">
                <a:solidFill>
                  <a:schemeClr val="tx1">
                    <a:lumMod val="100000"/>
                  </a:schemeClr>
                </a:solidFill>
                <a:latin typeface="Trebuchet MS" panose="020B0603020202020204" pitchFamily="34" charset="0"/>
                <a:ea typeface="Meiryo UI" panose="020B0604030504040204" pitchFamily="50" charset="-128"/>
              </a:rPr>
              <a:t>1</a:t>
            </a:r>
            <a:r>
              <a:rPr lang="ja-JP" altLang="en-US" sz="1600" dirty="0">
                <a:solidFill>
                  <a:schemeClr val="tx1">
                    <a:lumMod val="100000"/>
                  </a:schemeClr>
                </a:solidFill>
                <a:latin typeface="Trebuchet MS" panose="020B0603020202020204" pitchFamily="34" charset="0"/>
                <a:ea typeface="Meiryo UI" panose="020B0604030504040204" pitchFamily="50" charset="-128"/>
              </a:rPr>
              <a:t>主体的に業務を実施する意欲を持ち、必要な人員、時間等のリソースを確保す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自社の取組を</a:t>
            </a:r>
            <a:r>
              <a:rPr lang="en-US" altLang="ja-JP" sz="1600" dirty="0">
                <a:solidFill>
                  <a:schemeClr val="tx1">
                    <a:lumMod val="100000"/>
                  </a:schemeClr>
                </a:solidFill>
                <a:latin typeface="Trebuchet MS" panose="020B0603020202020204" pitchFamily="34" charset="0"/>
                <a:ea typeface="Meiryo UI" panose="020B0604030504040204" pitchFamily="50" charset="-128"/>
              </a:rPr>
              <a:t>CFP</a:t>
            </a:r>
            <a:r>
              <a:rPr lang="ja-JP" altLang="en-US" sz="1600" dirty="0">
                <a:solidFill>
                  <a:schemeClr val="tx1">
                    <a:lumMod val="100000"/>
                  </a:schemeClr>
                </a:solidFill>
                <a:latin typeface="Trebuchet MS" panose="020B0603020202020204" pitchFamily="34" charset="0"/>
                <a:ea typeface="Meiryo UI" panose="020B0604030504040204" pitchFamily="50" charset="-128"/>
              </a:rPr>
              <a:t>算定・活用ガイドブック等に掲載することに積極的に協力する</a:t>
            </a:r>
          </a:p>
        </p:txBody>
      </p:sp>
      <p:grpSp>
        <p:nvGrpSpPr>
          <p:cNvPr id="21" name="Group 20">
            <a:extLst>
              <a:ext uri="{FF2B5EF4-FFF2-40B4-BE49-F238E27FC236}">
                <a16:creationId xmlns:a16="http://schemas.microsoft.com/office/drawing/2014/main" id="{D676C152-46C4-4171-806C-60FC427B0867}"/>
              </a:ext>
            </a:extLst>
          </p:cNvPr>
          <p:cNvGrpSpPr>
            <a:grpSpLocks noChangeAspect="1"/>
          </p:cNvGrpSpPr>
          <p:nvPr/>
        </p:nvGrpSpPr>
        <p:grpSpPr>
          <a:xfrm>
            <a:off x="3347831" y="4072006"/>
            <a:ext cx="306910" cy="306910"/>
            <a:chOff x="4843364" y="3319364"/>
            <a:chExt cx="219273" cy="219273"/>
          </a:xfrm>
        </p:grpSpPr>
        <p:sp>
          <p:nvSpPr>
            <p:cNvPr id="22" name="Oval 21">
              <a:extLst>
                <a:ext uri="{FF2B5EF4-FFF2-40B4-BE49-F238E27FC236}">
                  <a16:creationId xmlns:a16="http://schemas.microsoft.com/office/drawing/2014/main" id="{55E3F836-75D1-42BF-A8D8-CC1A3BECD76C}"/>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23" name="Freeform 17">
              <a:extLst>
                <a:ext uri="{FF2B5EF4-FFF2-40B4-BE49-F238E27FC236}">
                  <a16:creationId xmlns:a16="http://schemas.microsoft.com/office/drawing/2014/main" id="{4FD4ACE2-3BBD-40AE-AA26-F31A5180749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sp>
        <p:nvSpPr>
          <p:cNvPr id="68" name="Rectangle 67">
            <a:extLst>
              <a:ext uri="{FF2B5EF4-FFF2-40B4-BE49-F238E27FC236}">
                <a16:creationId xmlns:a16="http://schemas.microsoft.com/office/drawing/2014/main" id="{E234DFBB-2557-4174-B84F-22D490ABAE18}"/>
              </a:ext>
            </a:extLst>
          </p:cNvPr>
          <p:cNvSpPr/>
          <p:nvPr/>
        </p:nvSpPr>
        <p:spPr>
          <a:xfrm>
            <a:off x="3362696" y="5033365"/>
            <a:ext cx="7168761" cy="9338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排出削減に関する目標の設定や行動計画の策定に取り組む高い意欲を持ってい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ライフサイクル排出量が多い製品、国民の使用量が多い製品など、削減に取り組むインパクトが大きい製品・サービスに取り組む</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p:txBody>
      </p:sp>
      <p:grpSp>
        <p:nvGrpSpPr>
          <p:cNvPr id="79" name="Group 78">
            <a:extLst>
              <a:ext uri="{FF2B5EF4-FFF2-40B4-BE49-F238E27FC236}">
                <a16:creationId xmlns:a16="http://schemas.microsoft.com/office/drawing/2014/main" id="{763E27F5-FEEB-49D0-8EB5-2DBCB9886BD7}"/>
              </a:ext>
            </a:extLst>
          </p:cNvPr>
          <p:cNvGrpSpPr>
            <a:grpSpLocks noChangeAspect="1"/>
          </p:cNvGrpSpPr>
          <p:nvPr/>
        </p:nvGrpSpPr>
        <p:grpSpPr>
          <a:xfrm>
            <a:off x="3347831" y="5041347"/>
            <a:ext cx="306910" cy="306910"/>
            <a:chOff x="4843364" y="3319364"/>
            <a:chExt cx="219273" cy="219273"/>
          </a:xfrm>
        </p:grpSpPr>
        <p:sp>
          <p:nvSpPr>
            <p:cNvPr id="80" name="Oval 79">
              <a:extLst>
                <a:ext uri="{FF2B5EF4-FFF2-40B4-BE49-F238E27FC236}">
                  <a16:creationId xmlns:a16="http://schemas.microsoft.com/office/drawing/2014/main" id="{20F6B3A6-18FB-4529-B465-3478D2FAB50E}"/>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81" name="Freeform 17">
              <a:extLst>
                <a:ext uri="{FF2B5EF4-FFF2-40B4-BE49-F238E27FC236}">
                  <a16:creationId xmlns:a16="http://schemas.microsoft.com/office/drawing/2014/main" id="{1A569216-DF4C-4309-810B-6923CB72475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sp>
        <p:nvSpPr>
          <p:cNvPr id="41" name="Rectangle 40">
            <a:extLst>
              <a:ext uri="{FF2B5EF4-FFF2-40B4-BE49-F238E27FC236}">
                <a16:creationId xmlns:a16="http://schemas.microsoft.com/office/drawing/2014/main" id="{BE727ACA-7194-4A43-A06B-6CD4BB76352E}"/>
              </a:ext>
            </a:extLst>
          </p:cNvPr>
          <p:cNvSpPr/>
          <p:nvPr/>
        </p:nvSpPr>
        <p:spPr>
          <a:xfrm>
            <a:off x="3362766" y="6039293"/>
            <a:ext cx="7168761" cy="75491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国民の行動変容に直接かかわることが可能な</a:t>
            </a:r>
            <a:r>
              <a:rPr lang="en-US" altLang="ja-JP" sz="1600" dirty="0">
                <a:solidFill>
                  <a:schemeClr val="tx1">
                    <a:lumMod val="100000"/>
                  </a:schemeClr>
                </a:solidFill>
                <a:latin typeface="Trebuchet MS" panose="020B0603020202020204" pitchFamily="34" charset="0"/>
                <a:ea typeface="Meiryo UI" panose="020B0604030504040204" pitchFamily="50" charset="-128"/>
              </a:rPr>
              <a:t>B2C</a:t>
            </a:r>
            <a:r>
              <a:rPr lang="ja-JP" altLang="en-US" sz="1600" dirty="0">
                <a:solidFill>
                  <a:schemeClr val="tx1">
                    <a:lumMod val="100000"/>
                  </a:schemeClr>
                </a:solidFill>
                <a:latin typeface="Trebuchet MS" panose="020B0603020202020204" pitchFamily="34" charset="0"/>
                <a:ea typeface="Meiryo UI" panose="020B0604030504040204" pitchFamily="50" charset="-128"/>
              </a:rPr>
              <a:t>企業であ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消費者の行動変容への影響力が大きい</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p:txBody>
      </p:sp>
      <p:grpSp>
        <p:nvGrpSpPr>
          <p:cNvPr id="88" name="Group 87">
            <a:extLst>
              <a:ext uri="{FF2B5EF4-FFF2-40B4-BE49-F238E27FC236}">
                <a16:creationId xmlns:a16="http://schemas.microsoft.com/office/drawing/2014/main" id="{685FA8AB-4D28-4FDB-B6D8-AA33D5EED126}"/>
              </a:ext>
            </a:extLst>
          </p:cNvPr>
          <p:cNvGrpSpPr>
            <a:grpSpLocks noChangeAspect="1"/>
          </p:cNvGrpSpPr>
          <p:nvPr/>
        </p:nvGrpSpPr>
        <p:grpSpPr>
          <a:xfrm>
            <a:off x="3347831" y="6061574"/>
            <a:ext cx="306910" cy="306910"/>
            <a:chOff x="4843364" y="3319364"/>
            <a:chExt cx="219273" cy="219273"/>
          </a:xfrm>
        </p:grpSpPr>
        <p:sp>
          <p:nvSpPr>
            <p:cNvPr id="89" name="Oval 88">
              <a:extLst>
                <a:ext uri="{FF2B5EF4-FFF2-40B4-BE49-F238E27FC236}">
                  <a16:creationId xmlns:a16="http://schemas.microsoft.com/office/drawing/2014/main" id="{DA231740-1867-4CFF-8901-D1A1E93C4E2A}"/>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90" name="Freeform 17">
              <a:extLst>
                <a:ext uri="{FF2B5EF4-FFF2-40B4-BE49-F238E27FC236}">
                  <a16:creationId xmlns:a16="http://schemas.microsoft.com/office/drawing/2014/main" id="{91015F40-07F3-4ACF-80B6-2B146F6DC31D}"/>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nvGrpSpPr>
          <p:cNvPr id="92" name="Group 91">
            <a:extLst>
              <a:ext uri="{FF2B5EF4-FFF2-40B4-BE49-F238E27FC236}">
                <a16:creationId xmlns:a16="http://schemas.microsoft.com/office/drawing/2014/main" id="{B33268C1-D131-4E57-9A40-B78259B96787}"/>
              </a:ext>
            </a:extLst>
          </p:cNvPr>
          <p:cNvGrpSpPr>
            <a:grpSpLocks noChangeAspect="1"/>
          </p:cNvGrpSpPr>
          <p:nvPr/>
        </p:nvGrpSpPr>
        <p:grpSpPr>
          <a:xfrm>
            <a:off x="3347831" y="4663085"/>
            <a:ext cx="306910" cy="306910"/>
            <a:chOff x="4843364" y="3319364"/>
            <a:chExt cx="219273" cy="219273"/>
          </a:xfrm>
        </p:grpSpPr>
        <p:sp>
          <p:nvSpPr>
            <p:cNvPr id="93" name="Oval 92">
              <a:extLst>
                <a:ext uri="{FF2B5EF4-FFF2-40B4-BE49-F238E27FC236}">
                  <a16:creationId xmlns:a16="http://schemas.microsoft.com/office/drawing/2014/main" id="{0964BA8A-0314-43B6-8EF5-3844D58F7D60}"/>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97" name="Freeform 17">
              <a:extLst>
                <a:ext uri="{FF2B5EF4-FFF2-40B4-BE49-F238E27FC236}">
                  <a16:creationId xmlns:a16="http://schemas.microsoft.com/office/drawing/2014/main" id="{1360ABAD-FD51-48CD-87F8-CE73A5EAD726}"/>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nvGrpSpPr>
          <p:cNvPr id="102" name="Group 101">
            <a:extLst>
              <a:ext uri="{FF2B5EF4-FFF2-40B4-BE49-F238E27FC236}">
                <a16:creationId xmlns:a16="http://schemas.microsoft.com/office/drawing/2014/main" id="{A6CEC6AE-76AF-469B-854E-CD220A9E555B}"/>
              </a:ext>
            </a:extLst>
          </p:cNvPr>
          <p:cNvGrpSpPr/>
          <p:nvPr/>
        </p:nvGrpSpPr>
        <p:grpSpPr>
          <a:xfrm>
            <a:off x="3347831" y="5422080"/>
            <a:ext cx="306910" cy="306910"/>
            <a:chOff x="7420016" y="1889334"/>
            <a:chExt cx="306910" cy="306910"/>
          </a:xfrm>
        </p:grpSpPr>
        <p:sp>
          <p:nvSpPr>
            <p:cNvPr id="103" name="Oval 102">
              <a:extLst>
                <a:ext uri="{FF2B5EF4-FFF2-40B4-BE49-F238E27FC236}">
                  <a16:creationId xmlns:a16="http://schemas.microsoft.com/office/drawing/2014/main" id="{277E180E-FB94-4D22-93C9-52479D09A695}"/>
                </a:ext>
              </a:extLst>
            </p:cNvPr>
            <p:cNvSpPr>
              <a:spLocks noChangeArrowheads="1"/>
            </p:cNvSpPr>
            <p:nvPr/>
          </p:nvSpPr>
          <p:spPr bwMode="auto">
            <a:xfrm>
              <a:off x="7420016" y="1889334"/>
              <a:ext cx="306910" cy="306910"/>
            </a:xfrm>
            <a:prstGeom prst="ellipse">
              <a:avLst/>
            </a:prstGeom>
            <a:solidFill>
              <a:srgbClr val="FFFFFF"/>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sp>
          <p:nvSpPr>
            <p:cNvPr id="104" name="Freeform 17">
              <a:extLst>
                <a:ext uri="{FF2B5EF4-FFF2-40B4-BE49-F238E27FC236}">
                  <a16:creationId xmlns:a16="http://schemas.microsoft.com/office/drawing/2014/main" id="{5936DDB1-0130-4572-A8F2-83BCCD924268}"/>
                </a:ext>
              </a:extLst>
            </p:cNvPr>
            <p:cNvSpPr>
              <a:spLocks/>
            </p:cNvSpPr>
            <p:nvPr/>
          </p:nvSpPr>
          <p:spPr bwMode="auto">
            <a:xfrm>
              <a:off x="7497647" y="1968770"/>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grpSp>
      <p:grpSp>
        <p:nvGrpSpPr>
          <p:cNvPr id="105" name="Group 104">
            <a:extLst>
              <a:ext uri="{FF2B5EF4-FFF2-40B4-BE49-F238E27FC236}">
                <a16:creationId xmlns:a16="http://schemas.microsoft.com/office/drawing/2014/main" id="{0BB83930-F3D1-4FE2-9EFB-95464BF23FC7}"/>
              </a:ext>
            </a:extLst>
          </p:cNvPr>
          <p:cNvGrpSpPr/>
          <p:nvPr/>
        </p:nvGrpSpPr>
        <p:grpSpPr>
          <a:xfrm>
            <a:off x="3347831" y="6456262"/>
            <a:ext cx="306910" cy="306910"/>
            <a:chOff x="7420016" y="1889334"/>
            <a:chExt cx="306910" cy="306910"/>
          </a:xfrm>
        </p:grpSpPr>
        <p:sp>
          <p:nvSpPr>
            <p:cNvPr id="106" name="Oval 105">
              <a:extLst>
                <a:ext uri="{FF2B5EF4-FFF2-40B4-BE49-F238E27FC236}">
                  <a16:creationId xmlns:a16="http://schemas.microsoft.com/office/drawing/2014/main" id="{767CF706-E891-4B5F-B885-4F7A99CB1F24}"/>
                </a:ext>
              </a:extLst>
            </p:cNvPr>
            <p:cNvSpPr>
              <a:spLocks noChangeArrowheads="1"/>
            </p:cNvSpPr>
            <p:nvPr/>
          </p:nvSpPr>
          <p:spPr bwMode="auto">
            <a:xfrm>
              <a:off x="7420016" y="1889334"/>
              <a:ext cx="306910" cy="306910"/>
            </a:xfrm>
            <a:prstGeom prst="ellipse">
              <a:avLst/>
            </a:prstGeom>
            <a:solidFill>
              <a:srgbClr val="FFFFFF"/>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sp>
          <p:nvSpPr>
            <p:cNvPr id="107" name="Freeform 17">
              <a:extLst>
                <a:ext uri="{FF2B5EF4-FFF2-40B4-BE49-F238E27FC236}">
                  <a16:creationId xmlns:a16="http://schemas.microsoft.com/office/drawing/2014/main" id="{D1BDE86D-4FD2-4323-8812-A0AED354E45B}"/>
                </a:ext>
              </a:extLst>
            </p:cNvPr>
            <p:cNvSpPr>
              <a:spLocks/>
            </p:cNvSpPr>
            <p:nvPr/>
          </p:nvSpPr>
          <p:spPr bwMode="auto">
            <a:xfrm>
              <a:off x="7497647" y="1968770"/>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w="9525" cap="flat" cmpd="sng" algn="ctr">
              <a:solidFill>
                <a:srgbClr val="9A9A9A"/>
              </a:solidFill>
              <a:prstDash val="solid"/>
              <a:round/>
              <a:headEnd type="none" w="med" len="med"/>
              <a:tailEnd type="none" w="med" len="med"/>
            </a:ln>
          </p:spPr>
          <p:txBody>
            <a:bodyPr vert="horz" wrap="square" lIns="74295" tIns="37148" rIns="74295" bIns="37148" numCol="1" anchor="t" anchorCtr="0" compatLnSpc="1">
              <a:prstTxWarp prst="textNoShape">
                <a:avLst/>
              </a:prstTxWarp>
            </a:bodyPr>
            <a:lstStyle/>
            <a:p>
              <a:endParaRPr lang="en-US" sz="1463" dirty="0">
                <a:solidFill>
                  <a:srgbClr val="575757"/>
                </a:solidFill>
              </a:endParaRPr>
            </a:p>
          </p:txBody>
        </p:sp>
      </p:grpSp>
      <p:sp>
        <p:nvSpPr>
          <p:cNvPr id="10" name="Rectangle 9">
            <a:extLst>
              <a:ext uri="{FF2B5EF4-FFF2-40B4-BE49-F238E27FC236}">
                <a16:creationId xmlns:a16="http://schemas.microsoft.com/office/drawing/2014/main" id="{90675A50-4A6F-4F52-A85F-66F88B0138A8}"/>
              </a:ext>
            </a:extLst>
          </p:cNvPr>
          <p:cNvSpPr/>
          <p:nvPr/>
        </p:nvSpPr>
        <p:spPr>
          <a:xfrm>
            <a:off x="239556" y="2765226"/>
            <a:ext cx="2986125" cy="11900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rgbClr val="FFFFFF"/>
                </a:solidFill>
                <a:latin typeface="Meiryo UI" panose="020B0604030504040204" pitchFamily="50" charset="-128"/>
                <a:ea typeface="Meiryo UI" panose="020B0604030504040204" pitchFamily="50" charset="-128"/>
              </a:rPr>
              <a:t>観点①</a:t>
            </a:r>
            <a:endParaRPr kumimoji="1" lang="en-US" altLang="ja-JP" sz="1600" dirty="0">
              <a:solidFill>
                <a:srgbClr val="FFFFFF"/>
              </a:solidFill>
              <a:latin typeface="Meiryo UI" panose="020B0604030504040204" pitchFamily="50" charset="-128"/>
              <a:ea typeface="Meiryo UI" panose="020B0604030504040204" pitchFamily="50" charset="-128"/>
            </a:endParaRPr>
          </a:p>
          <a:p>
            <a:pPr algn="ctr"/>
            <a:r>
              <a:rPr lang="ja-JP" altLang="en-US" sz="1600" dirty="0">
                <a:solidFill>
                  <a:srgbClr val="FFFFFF"/>
                </a:solidFill>
                <a:latin typeface="Meiryo UI" panose="020B0604030504040204" pitchFamily="50" charset="-128"/>
                <a:ea typeface="Meiryo UI" panose="020B0604030504040204" pitchFamily="50" charset="-128"/>
              </a:rPr>
              <a:t>本事業で実施したいことの</a:t>
            </a:r>
            <a:br>
              <a:rPr lang="en-US" altLang="ja-JP" sz="1600" dirty="0">
                <a:solidFill>
                  <a:srgbClr val="FFFFFF"/>
                </a:solidFill>
                <a:latin typeface="Meiryo UI" panose="020B0604030504040204" pitchFamily="50" charset="-128"/>
                <a:ea typeface="Meiryo UI" panose="020B0604030504040204" pitchFamily="50" charset="-128"/>
              </a:rPr>
            </a:br>
            <a:r>
              <a:rPr lang="ja-JP" altLang="en-US" sz="1600" dirty="0">
                <a:solidFill>
                  <a:srgbClr val="FFFFFF"/>
                </a:solidFill>
                <a:latin typeface="Meiryo UI" panose="020B0604030504040204" pitchFamily="50" charset="-128"/>
                <a:ea typeface="Meiryo UI" panose="020B0604030504040204" pitchFamily="50" charset="-128"/>
              </a:rPr>
              <a:t>提案内容</a:t>
            </a:r>
            <a:endParaRPr kumimoji="1" lang="en-US" sz="1600" dirty="0">
              <a:solidFill>
                <a:srgbClr val="FFFFFF"/>
              </a:solidFill>
              <a:latin typeface="Meiryo UI" panose="020B0604030504040204" pitchFamily="50" charset="-128"/>
              <a:ea typeface="Meiryo UI" panose="020B0604030504040204" pitchFamily="50" charset="-128"/>
            </a:endParaRPr>
          </a:p>
        </p:txBody>
      </p:sp>
      <p:sp>
        <p:nvSpPr>
          <p:cNvPr id="108" name="Rectangle 107">
            <a:extLst>
              <a:ext uri="{FF2B5EF4-FFF2-40B4-BE49-F238E27FC236}">
                <a16:creationId xmlns:a16="http://schemas.microsoft.com/office/drawing/2014/main" id="{2B022142-BBCF-4E9D-AE77-6A6BF8E8FCF3}"/>
              </a:ext>
            </a:extLst>
          </p:cNvPr>
          <p:cNvSpPr/>
          <p:nvPr/>
        </p:nvSpPr>
        <p:spPr>
          <a:xfrm>
            <a:off x="239556" y="4027436"/>
            <a:ext cx="1350099" cy="27502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rgbClr val="FFFFFF"/>
                </a:solidFill>
                <a:latin typeface="Meiryo UI" panose="020B0604030504040204" pitchFamily="50" charset="-128"/>
                <a:ea typeface="Meiryo UI" panose="020B0604030504040204" pitchFamily="50" charset="-128"/>
              </a:rPr>
              <a:t>観点②</a:t>
            </a:r>
            <a:endParaRPr kumimoji="1" lang="en-US" altLang="ja-JP" sz="1600" dirty="0">
              <a:solidFill>
                <a:srgbClr val="FFFFFF"/>
              </a:solidFill>
              <a:latin typeface="Meiryo UI" panose="020B0604030504040204" pitchFamily="50" charset="-128"/>
              <a:ea typeface="Meiryo UI" panose="020B0604030504040204" pitchFamily="50" charset="-128"/>
            </a:endParaRPr>
          </a:p>
          <a:p>
            <a:pPr algn="ctr"/>
            <a:r>
              <a:rPr lang="ja-JP" altLang="en-US" sz="1600" dirty="0">
                <a:solidFill>
                  <a:srgbClr val="FFFFFF"/>
                </a:solidFill>
                <a:latin typeface="Meiryo UI" panose="020B0604030504040204" pitchFamily="50" charset="-128"/>
                <a:ea typeface="Meiryo UI" panose="020B0604030504040204" pitchFamily="50" charset="-128"/>
              </a:rPr>
              <a:t>モデル企業</a:t>
            </a:r>
            <a:br>
              <a:rPr lang="en-US" altLang="ja-JP" sz="1600" dirty="0">
                <a:solidFill>
                  <a:srgbClr val="FFFFFF"/>
                </a:solidFill>
                <a:latin typeface="Meiryo UI" panose="020B0604030504040204" pitchFamily="50" charset="-128"/>
                <a:ea typeface="Meiryo UI" panose="020B0604030504040204" pitchFamily="50" charset="-128"/>
              </a:rPr>
            </a:br>
            <a:r>
              <a:rPr lang="ja-JP" altLang="en-US" sz="1600" dirty="0">
                <a:solidFill>
                  <a:srgbClr val="FFFFFF"/>
                </a:solidFill>
                <a:latin typeface="Meiryo UI" panose="020B0604030504040204" pitchFamily="50" charset="-128"/>
                <a:ea typeface="Meiryo UI" panose="020B0604030504040204" pitchFamily="50" charset="-128"/>
              </a:rPr>
              <a:t>としての適性</a:t>
            </a:r>
            <a:endParaRPr kumimoji="1" lang="en-US" sz="1600" dirty="0">
              <a:solidFill>
                <a:srgbClr val="FFFFFF"/>
              </a:solidFill>
              <a:latin typeface="Meiryo UI" panose="020B0604030504040204" pitchFamily="50" charset="-128"/>
              <a:ea typeface="Meiryo UI" panose="020B0604030504040204" pitchFamily="50" charset="-128"/>
            </a:endParaRPr>
          </a:p>
        </p:txBody>
      </p:sp>
      <p:cxnSp>
        <p:nvCxnSpPr>
          <p:cNvPr id="109" name="Straight Connector 108">
            <a:extLst>
              <a:ext uri="{FF2B5EF4-FFF2-40B4-BE49-F238E27FC236}">
                <a16:creationId xmlns:a16="http://schemas.microsoft.com/office/drawing/2014/main" id="{C70D5B9F-3ED6-470B-A709-911A821E54C1}"/>
              </a:ext>
            </a:extLst>
          </p:cNvPr>
          <p:cNvCxnSpPr/>
          <p:nvPr/>
        </p:nvCxnSpPr>
        <p:spPr>
          <a:xfrm>
            <a:off x="239556" y="3991374"/>
            <a:ext cx="10290332" cy="0"/>
          </a:xfrm>
          <a:prstGeom prst="line">
            <a:avLst/>
          </a:prstGeom>
          <a:ln w="6350" cap="flat" cmpd="sng" algn="ctr">
            <a:solidFill>
              <a:srgbClr val="9A9A9A"/>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00E3AEB1-4EF0-4986-865A-195EA217B780}"/>
              </a:ext>
            </a:extLst>
          </p:cNvPr>
          <p:cNvSpPr/>
          <p:nvPr/>
        </p:nvSpPr>
        <p:spPr>
          <a:xfrm>
            <a:off x="3362696" y="2765226"/>
            <a:ext cx="7168761" cy="11900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自社の戦略における</a:t>
            </a:r>
            <a:r>
              <a:rPr lang="en-US" altLang="ja-JP" sz="1600" dirty="0">
                <a:solidFill>
                  <a:schemeClr val="tx1">
                    <a:lumMod val="100000"/>
                  </a:schemeClr>
                </a:solidFill>
                <a:latin typeface="Trebuchet MS" panose="020B0603020202020204" pitchFamily="34" charset="0"/>
                <a:ea typeface="Meiryo UI" panose="020B0604030504040204" pitchFamily="50" charset="-128"/>
              </a:rPr>
              <a:t>CFP</a:t>
            </a:r>
            <a:r>
              <a:rPr lang="ja-JP" altLang="en-US" sz="1600" dirty="0">
                <a:solidFill>
                  <a:schemeClr val="tx1">
                    <a:lumMod val="100000"/>
                  </a:schemeClr>
                </a:solidFill>
                <a:latin typeface="Trebuchet MS" panose="020B0603020202020204" pitchFamily="34" charset="0"/>
                <a:ea typeface="Meiryo UI" panose="020B0604030504040204" pitchFamily="50" charset="-128"/>
              </a:rPr>
              <a:t>の位置づけが明らかにされてい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spcBef>
                <a:spcPts val="600"/>
              </a:spcBef>
              <a:spcAft>
                <a:spcPts val="600"/>
              </a:spcAft>
              <a:buClr>
                <a:schemeClr val="tx2">
                  <a:lumMod val="100000"/>
                </a:schemeClr>
              </a:buClr>
              <a:buSzPct val="100000"/>
              <a:buFont typeface="Arial" panose="020B0604020202020204" pitchFamily="34" charset="0"/>
              <a:buChar char="•"/>
            </a:pPr>
            <a:r>
              <a:rPr lang="ja-JP" altLang="en-US" sz="1600" dirty="0">
                <a:solidFill>
                  <a:schemeClr val="tx1">
                    <a:lumMod val="100000"/>
                  </a:schemeClr>
                </a:solidFill>
                <a:latin typeface="Trebuchet MS" panose="020B0603020202020204" pitchFamily="34" charset="0"/>
                <a:ea typeface="Meiryo UI" panose="020B0604030504040204" pitchFamily="50" charset="-128"/>
              </a:rPr>
              <a:t>本事業で環境省が目指している新たな</a:t>
            </a:r>
            <a:r>
              <a:rPr lang="en-US" altLang="ja-JP" sz="1600" dirty="0">
                <a:solidFill>
                  <a:schemeClr val="tx1">
                    <a:lumMod val="100000"/>
                  </a:schemeClr>
                </a:solidFill>
                <a:latin typeface="Trebuchet MS" panose="020B0603020202020204" pitchFamily="34" charset="0"/>
                <a:ea typeface="Meiryo UI" panose="020B0604030504040204" pitchFamily="50" charset="-128"/>
              </a:rPr>
              <a:t>CFP</a:t>
            </a:r>
            <a:r>
              <a:rPr lang="ja-JP" altLang="en-US" sz="1600" dirty="0">
                <a:solidFill>
                  <a:schemeClr val="tx1">
                    <a:lumMod val="100000"/>
                  </a:schemeClr>
                </a:solidFill>
                <a:latin typeface="Trebuchet MS" panose="020B0603020202020204" pitchFamily="34" charset="0"/>
                <a:ea typeface="Meiryo UI" panose="020B0604030504040204" pitchFamily="50" charset="-128"/>
              </a:rPr>
              <a:t>の算定・表示のモデルケースの構築の</a:t>
            </a:r>
            <a:br>
              <a:rPr lang="en-US" altLang="ja-JP" sz="1600" dirty="0">
                <a:solidFill>
                  <a:schemeClr val="tx1">
                    <a:lumMod val="100000"/>
                  </a:schemeClr>
                </a:solidFill>
                <a:latin typeface="Trebuchet MS" panose="020B0603020202020204" pitchFamily="34" charset="0"/>
                <a:ea typeface="Meiryo UI" panose="020B0604030504040204" pitchFamily="50" charset="-128"/>
              </a:rPr>
            </a:br>
            <a:r>
              <a:rPr lang="ja-JP" altLang="en-US" sz="1600" dirty="0">
                <a:solidFill>
                  <a:schemeClr val="tx1">
                    <a:lumMod val="100000"/>
                  </a:schemeClr>
                </a:solidFill>
                <a:latin typeface="Trebuchet MS" panose="020B0603020202020204" pitchFamily="34" charset="0"/>
                <a:ea typeface="Meiryo UI" panose="020B0604030504040204" pitchFamily="50" charset="-128"/>
              </a:rPr>
              <a:t>方向性を理解した上で、自社が取り組みたい実施内容のアイデアが提案されている</a:t>
            </a:r>
            <a:endParaRPr lang="en-US" altLang="ja-JP" sz="1600" dirty="0">
              <a:solidFill>
                <a:schemeClr val="tx1">
                  <a:lumMod val="100000"/>
                </a:schemeClr>
              </a:solidFill>
              <a:latin typeface="Trebuchet MS" panose="020B0603020202020204" pitchFamily="34" charset="0"/>
              <a:ea typeface="Meiryo UI" panose="020B0604030504040204" pitchFamily="50" charset="-128"/>
            </a:endParaRPr>
          </a:p>
        </p:txBody>
      </p:sp>
      <p:grpSp>
        <p:nvGrpSpPr>
          <p:cNvPr id="111" name="Group 110">
            <a:extLst>
              <a:ext uri="{FF2B5EF4-FFF2-40B4-BE49-F238E27FC236}">
                <a16:creationId xmlns:a16="http://schemas.microsoft.com/office/drawing/2014/main" id="{27E72ED6-2069-41D6-8FC7-235D79822574}"/>
              </a:ext>
            </a:extLst>
          </p:cNvPr>
          <p:cNvGrpSpPr>
            <a:grpSpLocks noChangeAspect="1"/>
          </p:cNvGrpSpPr>
          <p:nvPr/>
        </p:nvGrpSpPr>
        <p:grpSpPr>
          <a:xfrm>
            <a:off x="3347831" y="3185168"/>
            <a:ext cx="306910" cy="306910"/>
            <a:chOff x="4843364" y="3319364"/>
            <a:chExt cx="219273" cy="219273"/>
          </a:xfrm>
        </p:grpSpPr>
        <p:sp>
          <p:nvSpPr>
            <p:cNvPr id="112" name="Oval 111">
              <a:extLst>
                <a:ext uri="{FF2B5EF4-FFF2-40B4-BE49-F238E27FC236}">
                  <a16:creationId xmlns:a16="http://schemas.microsoft.com/office/drawing/2014/main" id="{81C8A644-F047-48FC-97E7-A93D86441157}"/>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113" name="Freeform 17">
              <a:extLst>
                <a:ext uri="{FF2B5EF4-FFF2-40B4-BE49-F238E27FC236}">
                  <a16:creationId xmlns:a16="http://schemas.microsoft.com/office/drawing/2014/main" id="{B7E83932-8CC9-487A-94D6-A2D160A511A1}"/>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nvGrpSpPr>
          <p:cNvPr id="114" name="Group 113">
            <a:extLst>
              <a:ext uri="{FF2B5EF4-FFF2-40B4-BE49-F238E27FC236}">
                <a16:creationId xmlns:a16="http://schemas.microsoft.com/office/drawing/2014/main" id="{03DA2AF5-3B53-4BD2-99EF-485A1653DADB}"/>
              </a:ext>
            </a:extLst>
          </p:cNvPr>
          <p:cNvGrpSpPr>
            <a:grpSpLocks noChangeAspect="1"/>
          </p:cNvGrpSpPr>
          <p:nvPr/>
        </p:nvGrpSpPr>
        <p:grpSpPr>
          <a:xfrm>
            <a:off x="3347831" y="2801510"/>
            <a:ext cx="306910" cy="306910"/>
            <a:chOff x="4843364" y="3319364"/>
            <a:chExt cx="219273" cy="219273"/>
          </a:xfrm>
        </p:grpSpPr>
        <p:sp>
          <p:nvSpPr>
            <p:cNvPr id="115" name="Oval 114">
              <a:extLst>
                <a:ext uri="{FF2B5EF4-FFF2-40B4-BE49-F238E27FC236}">
                  <a16:creationId xmlns:a16="http://schemas.microsoft.com/office/drawing/2014/main" id="{0041F222-B59A-4160-BC43-A30A08E56298}"/>
                </a:ext>
              </a:extLst>
            </p:cNvPr>
            <p:cNvSpPr>
              <a:spLocks noChangeArrowheads="1"/>
            </p:cNvSpPr>
            <p:nvPr/>
          </p:nvSpPr>
          <p:spPr bwMode="auto">
            <a:xfrm>
              <a:off x="4843364" y="3319364"/>
              <a:ext cx="219273" cy="219273"/>
            </a:xfrm>
            <a:prstGeom prst="ellipse">
              <a:avLst/>
            </a:prstGeom>
            <a:solidFill>
              <a:schemeClr val="tx2"/>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116" name="Freeform 17">
              <a:extLst>
                <a:ext uri="{FF2B5EF4-FFF2-40B4-BE49-F238E27FC236}">
                  <a16:creationId xmlns:a16="http://schemas.microsoft.com/office/drawing/2014/main" id="{4353D82E-EA5B-4CF6-B079-5A8250F0446C}"/>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spTree>
    <p:extLst>
      <p:ext uri="{BB962C8B-B14F-4D97-AF65-F5344CB8AC3E}">
        <p14:creationId xmlns:p14="http://schemas.microsoft.com/office/powerpoint/2010/main" val="3775341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AF7961-5BE2-407B-A37A-BD5C9950702C}"/>
              </a:ext>
            </a:extLst>
          </p:cNvPr>
          <p:cNvGraphicFramePr>
            <a:graphicFrameLocks noChangeAspect="1"/>
          </p:cNvGraphicFramePr>
          <p:nvPr>
            <p:custDataLst>
              <p:tags r:id="rId1"/>
            </p:custDataLst>
            <p:extLst>
              <p:ext uri="{D42A27DB-BD31-4B8C-83A1-F6EECF244321}">
                <p14:modId xmlns:p14="http://schemas.microsoft.com/office/powerpoint/2010/main" val="55508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FFAF7961-5BE2-407B-A37A-BD5C99507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B53A7C-5806-4AD6-965B-1B112F5DAA3A}"/>
              </a:ext>
            </a:extLst>
          </p:cNvPr>
          <p:cNvSpPr>
            <a:spLocks noGrp="1"/>
          </p:cNvSpPr>
          <p:nvPr>
            <p:ph type="title"/>
          </p:nvPr>
        </p:nvSpPr>
        <p:spPr/>
        <p:txBody>
          <a:bodyPr vert="horz"/>
          <a:lstStyle/>
          <a:p>
            <a:r>
              <a:rPr lang="ja-JP" altLang="en-US" dirty="0"/>
              <a:t>本事業の実施方法</a:t>
            </a:r>
            <a:endParaRPr kumimoji="1" lang="en-US" dirty="0"/>
          </a:p>
        </p:txBody>
      </p:sp>
      <p:sp>
        <p:nvSpPr>
          <p:cNvPr id="3" name="Content Placeholder 2">
            <a:extLst>
              <a:ext uri="{FF2B5EF4-FFF2-40B4-BE49-F238E27FC236}">
                <a16:creationId xmlns:a16="http://schemas.microsoft.com/office/drawing/2014/main" id="{220E1FBA-6ECA-4C35-B7DC-9C363E272314}"/>
              </a:ext>
            </a:extLst>
          </p:cNvPr>
          <p:cNvSpPr>
            <a:spLocks noGrp="1"/>
          </p:cNvSpPr>
          <p:nvPr>
            <p:ph sz="quarter" idx="13"/>
          </p:nvPr>
        </p:nvSpPr>
        <p:spPr>
          <a:xfrm>
            <a:off x="161925" y="1110920"/>
            <a:ext cx="10367963" cy="634941"/>
          </a:xfrm>
        </p:spPr>
        <p:txBody>
          <a:bodyPr/>
          <a:lstStyle/>
          <a:p>
            <a:r>
              <a:rPr lang="ja-JP" altLang="en-US" dirty="0"/>
              <a:t>参加企業は、コンサルタントの支援を受けつつ、自らが主体的に検討を進めることでノウハウを習得</a:t>
            </a:r>
          </a:p>
        </p:txBody>
      </p:sp>
      <p:cxnSp>
        <p:nvCxnSpPr>
          <p:cNvPr id="5" name="Straight Connector 4">
            <a:extLst>
              <a:ext uri="{FF2B5EF4-FFF2-40B4-BE49-F238E27FC236}">
                <a16:creationId xmlns:a16="http://schemas.microsoft.com/office/drawing/2014/main" id="{17EF176B-10AB-4F39-992D-3652364770FF}"/>
              </a:ext>
            </a:extLst>
          </p:cNvPr>
          <p:cNvCxnSpPr>
            <a:cxnSpLocks/>
          </p:cNvCxnSpPr>
          <p:nvPr/>
        </p:nvCxnSpPr>
        <p:spPr>
          <a:xfrm>
            <a:off x="3492648" y="3142089"/>
            <a:ext cx="3540678" cy="0"/>
          </a:xfrm>
          <a:prstGeom prst="line">
            <a:avLst/>
          </a:prstGeom>
          <a:ln w="47625" cap="flat" cmpd="sng" algn="ctr">
            <a:solidFill>
              <a:srgbClr val="6E6F73"/>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33CA15-9316-4DE0-8A05-40FA6B4CAD97}"/>
              </a:ext>
            </a:extLst>
          </p:cNvPr>
          <p:cNvCxnSpPr>
            <a:cxnSpLocks/>
          </p:cNvCxnSpPr>
          <p:nvPr/>
        </p:nvCxnSpPr>
        <p:spPr>
          <a:xfrm flipH="1">
            <a:off x="3577506" y="3767817"/>
            <a:ext cx="3525910" cy="0"/>
          </a:xfrm>
          <a:prstGeom prst="line">
            <a:avLst/>
          </a:prstGeom>
          <a:ln w="47625" cap="flat" cmpd="sng" algn="ctr">
            <a:solidFill>
              <a:srgbClr val="6E6F73"/>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A3F3CB4-F241-4F72-9199-49A2C3FDCC64}"/>
              </a:ext>
            </a:extLst>
          </p:cNvPr>
          <p:cNvSpPr/>
          <p:nvPr/>
        </p:nvSpPr>
        <p:spPr>
          <a:xfrm>
            <a:off x="7004059" y="2627074"/>
            <a:ext cx="1666840" cy="1655759"/>
          </a:xfrm>
          <a:prstGeom prst="ellipse">
            <a:avLst/>
          </a:prstGeom>
          <a:solidFill>
            <a:srgbClr val="FFFFFF"/>
          </a:solidFill>
          <a:ln>
            <a:noFill/>
          </a:ln>
          <a:effectLst>
            <a:outerShdw blurRad="139700" dist="63500" dir="36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lnSpc>
                <a:spcPct val="85000"/>
              </a:lnSpc>
              <a:buSzPct val="100000"/>
              <a:buFont typeface="Trebuchet MS" panose="020B0603020202020204" pitchFamily="34" charset="0"/>
              <a:buChar char="​"/>
            </a:pPr>
            <a:endParaRPr kumimoji="1" lang="ja-JP" altLang="en-US" sz="1300" dirty="0">
              <a:solidFill>
                <a:srgbClr val="575757"/>
              </a:solidFill>
              <a:latin typeface="Trebuchet MS" panose="020B0603020202020204" pitchFamily="34" charset="0"/>
              <a:ea typeface="Meiryo UI" panose="020B0604030504040204" pitchFamily="50" charset="-128"/>
            </a:endParaRPr>
          </a:p>
        </p:txBody>
      </p:sp>
      <p:sp>
        <p:nvSpPr>
          <p:cNvPr id="8" name="Oval 7">
            <a:extLst>
              <a:ext uri="{FF2B5EF4-FFF2-40B4-BE49-F238E27FC236}">
                <a16:creationId xmlns:a16="http://schemas.microsoft.com/office/drawing/2014/main" id="{9FA9654F-9C16-4AC9-9B67-403C93EF770C}"/>
              </a:ext>
            </a:extLst>
          </p:cNvPr>
          <p:cNvSpPr/>
          <p:nvPr/>
        </p:nvSpPr>
        <p:spPr>
          <a:xfrm>
            <a:off x="1965334" y="2627074"/>
            <a:ext cx="1666840" cy="1655759"/>
          </a:xfrm>
          <a:prstGeom prst="ellipse">
            <a:avLst/>
          </a:prstGeom>
          <a:solidFill>
            <a:srgbClr val="FFFFFF"/>
          </a:solidFill>
          <a:ln>
            <a:noFill/>
          </a:ln>
          <a:effectLst>
            <a:outerShdw blurRad="139700" dist="63500" dir="36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lnSpc>
                <a:spcPct val="85000"/>
              </a:lnSpc>
              <a:buSzPct val="100000"/>
              <a:buFont typeface="Trebuchet MS" panose="020B0603020202020204" pitchFamily="34" charset="0"/>
              <a:buChar char="​"/>
            </a:pPr>
            <a:endParaRPr kumimoji="1" lang="ja-JP" altLang="en-US" sz="1300" dirty="0">
              <a:solidFill>
                <a:srgbClr val="575757"/>
              </a:solidFill>
              <a:latin typeface="Trebuchet MS" panose="020B0603020202020204" pitchFamily="34" charset="0"/>
              <a:ea typeface="Meiryo UI" panose="020B0604030504040204" pitchFamily="50" charset="-128"/>
            </a:endParaRPr>
          </a:p>
        </p:txBody>
      </p:sp>
      <p:sp>
        <p:nvSpPr>
          <p:cNvPr id="9" name="Rectangle 8">
            <a:extLst>
              <a:ext uri="{FF2B5EF4-FFF2-40B4-BE49-F238E27FC236}">
                <a16:creationId xmlns:a16="http://schemas.microsoft.com/office/drawing/2014/main" id="{CE7EE09E-4D7A-4622-926D-847B31585387}"/>
              </a:ext>
            </a:extLst>
          </p:cNvPr>
          <p:cNvSpPr/>
          <p:nvPr/>
        </p:nvSpPr>
        <p:spPr>
          <a:xfrm>
            <a:off x="728753" y="5378484"/>
            <a:ext cx="4339005" cy="11549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buClr>
                <a:schemeClr val="tx2">
                  <a:lumMod val="100000"/>
                </a:schemeClr>
              </a:buClr>
              <a:buSzPct val="100000"/>
              <a:buFont typeface="Arial" panose="020B0604020202020204" pitchFamily="34" charset="0"/>
              <a:buChar char="•"/>
            </a:pP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buClr>
                <a:schemeClr val="tx2">
                  <a:lumMod val="100000"/>
                </a:schemeClr>
              </a:buClr>
              <a:buSzPct val="100000"/>
              <a:buFont typeface="Arial" panose="020B0604020202020204" pitchFamily="34" charset="0"/>
              <a:buChar char="•"/>
            </a:pPr>
            <a:r>
              <a:rPr lang="ja-JP" altLang="en-US" sz="1800" dirty="0">
                <a:solidFill>
                  <a:schemeClr val="tx1">
                    <a:lumMod val="100000"/>
                  </a:schemeClr>
                </a:solidFill>
                <a:latin typeface="Trebuchet MS" panose="020B0603020202020204" pitchFamily="34" charset="0"/>
                <a:ea typeface="Meiryo UI" panose="020B0604030504040204" pitchFamily="50" charset="-128"/>
              </a:rPr>
              <a:t>関連データ</a:t>
            </a:r>
            <a:r>
              <a:rPr lang="en-US" altLang="ja-JP" sz="1800" dirty="0">
                <a:solidFill>
                  <a:schemeClr val="tx1">
                    <a:lumMod val="100000"/>
                  </a:schemeClr>
                </a:solidFill>
                <a:latin typeface="Trebuchet MS" panose="020B0603020202020204" pitchFamily="34" charset="0"/>
                <a:ea typeface="Meiryo UI" panose="020B0604030504040204" pitchFamily="50" charset="-128"/>
              </a:rPr>
              <a:t>/</a:t>
            </a:r>
            <a:r>
              <a:rPr lang="ja-JP" altLang="en-US" sz="1800" dirty="0">
                <a:solidFill>
                  <a:schemeClr val="tx1">
                    <a:lumMod val="100000"/>
                  </a:schemeClr>
                </a:solidFill>
                <a:latin typeface="Trebuchet MS" panose="020B0603020202020204" pitchFamily="34" charset="0"/>
                <a:ea typeface="Meiryo UI" panose="020B0604030504040204" pitchFamily="50" charset="-128"/>
              </a:rPr>
              <a:t>情報収集、関係者ヒアリング</a:t>
            </a:r>
            <a:r>
              <a:rPr lang="en-US" altLang="ja-JP" sz="1800" dirty="0">
                <a:solidFill>
                  <a:schemeClr val="tx1">
                    <a:lumMod val="100000"/>
                  </a:schemeClr>
                </a:solidFill>
                <a:latin typeface="Trebuchet MS" panose="020B0603020202020204" pitchFamily="34" charset="0"/>
                <a:ea typeface="Meiryo UI" panose="020B0604030504040204" pitchFamily="50" charset="-128"/>
              </a:rPr>
              <a:t>/</a:t>
            </a:r>
            <a:r>
              <a:rPr lang="ja-JP" altLang="en-US" sz="1800" dirty="0">
                <a:solidFill>
                  <a:schemeClr val="tx1">
                    <a:lumMod val="100000"/>
                  </a:schemeClr>
                </a:solidFill>
                <a:latin typeface="Trebuchet MS" panose="020B0603020202020204" pitchFamily="34" charset="0"/>
                <a:ea typeface="Meiryo UI" panose="020B0604030504040204" pitchFamily="50" charset="-128"/>
              </a:rPr>
              <a:t>調整、分析、</a:t>
            </a:r>
            <a:r>
              <a:rPr lang="en-US" altLang="ja-JP" sz="1800" dirty="0">
                <a:solidFill>
                  <a:schemeClr val="tx1"/>
                </a:solidFill>
                <a:latin typeface="Trebuchet MS" panose="020B0603020202020204" pitchFamily="34" charset="0"/>
                <a:ea typeface="Meiryo UI" panose="020B0604030504040204" pitchFamily="50" charset="-128"/>
              </a:rPr>
              <a:t>CFP</a:t>
            </a:r>
            <a:r>
              <a:rPr lang="ja-JP" altLang="en-US" sz="1800" dirty="0">
                <a:solidFill>
                  <a:schemeClr val="tx1"/>
                </a:solidFill>
                <a:latin typeface="Trebuchet MS" panose="020B0603020202020204" pitchFamily="34" charset="0"/>
                <a:ea typeface="Meiryo UI" panose="020B0604030504040204" pitchFamily="50" charset="-128"/>
              </a:rPr>
              <a:t>の算定・表示・削減案の策定、</a:t>
            </a:r>
            <a:r>
              <a:rPr lang="en-US" altLang="ja-JP" sz="1800" dirty="0">
                <a:solidFill>
                  <a:schemeClr val="tx1"/>
                </a:solidFill>
                <a:latin typeface="Trebuchet MS" panose="020B0603020202020204" pitchFamily="34" charset="0"/>
                <a:ea typeface="Meiryo UI" panose="020B0604030504040204" pitchFamily="50" charset="-128"/>
              </a:rPr>
              <a:t>CFP</a:t>
            </a:r>
            <a:r>
              <a:rPr lang="ja-JP" altLang="en-US" sz="1800" dirty="0">
                <a:solidFill>
                  <a:schemeClr val="tx1"/>
                </a:solidFill>
                <a:latin typeface="Trebuchet MS" panose="020B0603020202020204" pitchFamily="34" charset="0"/>
                <a:ea typeface="Meiryo UI" panose="020B0604030504040204" pitchFamily="50" charset="-128"/>
              </a:rPr>
              <a:t>のビジネスでの活用に関する</a:t>
            </a:r>
            <a:br>
              <a:rPr lang="en-US" altLang="ja-JP" sz="1800" dirty="0">
                <a:solidFill>
                  <a:schemeClr val="tx1"/>
                </a:solidFill>
                <a:latin typeface="Trebuchet MS" panose="020B0603020202020204" pitchFamily="34" charset="0"/>
                <a:ea typeface="Meiryo UI" panose="020B0604030504040204" pitchFamily="50" charset="-128"/>
              </a:rPr>
            </a:br>
            <a:r>
              <a:rPr lang="ja-JP" altLang="en-US" sz="1800" dirty="0">
                <a:solidFill>
                  <a:schemeClr val="tx1"/>
                </a:solidFill>
                <a:latin typeface="Trebuchet MS" panose="020B0603020202020204" pitchFamily="34" charset="0"/>
                <a:ea typeface="Meiryo UI" panose="020B0604030504040204" pitchFamily="50" charset="-128"/>
              </a:rPr>
              <a:t>企画　等</a:t>
            </a:r>
            <a:endParaRPr lang="en-US" altLang="ja-JP" sz="1800" dirty="0">
              <a:solidFill>
                <a:schemeClr val="tx1"/>
              </a:solidFill>
              <a:latin typeface="Trebuchet MS" panose="020B0603020202020204" pitchFamily="34" charset="0"/>
              <a:ea typeface="Meiryo UI" panose="020B0604030504040204" pitchFamily="50" charset="-128"/>
            </a:endParaRPr>
          </a:p>
        </p:txBody>
      </p:sp>
      <p:sp>
        <p:nvSpPr>
          <p:cNvPr id="10" name="TextBox 9">
            <a:extLst>
              <a:ext uri="{FF2B5EF4-FFF2-40B4-BE49-F238E27FC236}">
                <a16:creationId xmlns:a16="http://schemas.microsoft.com/office/drawing/2014/main" id="{9D6EAEDE-8DD2-45B8-B66D-8FBA96508B75}"/>
              </a:ext>
            </a:extLst>
          </p:cNvPr>
          <p:cNvSpPr txBox="1"/>
          <p:nvPr/>
        </p:nvSpPr>
        <p:spPr>
          <a:xfrm>
            <a:off x="7004059" y="2162525"/>
            <a:ext cx="1666840" cy="4043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lang="ja-JP" altLang="en-US" sz="2000" b="1" dirty="0">
                <a:solidFill>
                  <a:schemeClr val="tx1"/>
                </a:solidFill>
                <a:latin typeface="Trebuchet MS" panose="020B0603020202020204" pitchFamily="34" charset="0"/>
                <a:ea typeface="Meiryo UI" panose="020B0604030504040204" pitchFamily="50" charset="-128"/>
              </a:rPr>
              <a:t>コンサルタント</a:t>
            </a:r>
            <a:endParaRPr kumimoji="1" lang="en-US" sz="2000" b="1" dirty="0" err="1">
              <a:solidFill>
                <a:schemeClr val="tx1"/>
              </a:solidFill>
              <a:latin typeface="Trebuchet MS" panose="020B0603020202020204" pitchFamily="34" charset="0"/>
              <a:ea typeface="Meiryo UI" panose="020B0604030504040204" pitchFamily="50" charset="-128"/>
            </a:endParaRPr>
          </a:p>
        </p:txBody>
      </p:sp>
      <p:sp>
        <p:nvSpPr>
          <p:cNvPr id="11" name="Rectangle 10">
            <a:extLst>
              <a:ext uri="{FF2B5EF4-FFF2-40B4-BE49-F238E27FC236}">
                <a16:creationId xmlns:a16="http://schemas.microsoft.com/office/drawing/2014/main" id="{7918C18D-3BC3-4A78-8582-2D366812A450}"/>
              </a:ext>
            </a:extLst>
          </p:cNvPr>
          <p:cNvSpPr/>
          <p:nvPr/>
        </p:nvSpPr>
        <p:spPr>
          <a:xfrm>
            <a:off x="5767479" y="5378484"/>
            <a:ext cx="4330609" cy="11549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1" indent="-285750">
              <a:buClr>
                <a:schemeClr val="tx2">
                  <a:lumMod val="100000"/>
                </a:schemeClr>
              </a:buClr>
              <a:buSzPct val="100000"/>
              <a:buFont typeface="Arial" panose="020B0604020202020204" pitchFamily="34" charset="0"/>
              <a:buChar char="•"/>
            </a:pP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buClr>
                <a:schemeClr val="tx2">
                  <a:lumMod val="100000"/>
                </a:schemeClr>
              </a:buClr>
              <a:buSzPct val="100000"/>
              <a:buFont typeface="Arial" panose="020B0604020202020204" pitchFamily="34" charset="0"/>
              <a:buChar char="•"/>
            </a:pPr>
            <a:r>
              <a:rPr lang="ja-JP" altLang="en-US" sz="1800" dirty="0">
                <a:solidFill>
                  <a:schemeClr val="tx1">
                    <a:lumMod val="100000"/>
                  </a:schemeClr>
                </a:solidFill>
                <a:latin typeface="Trebuchet MS" panose="020B0603020202020204" pitchFamily="34" charset="0"/>
                <a:ea typeface="Meiryo UI" panose="020B0604030504040204" pitchFamily="50" charset="-128"/>
              </a:rPr>
              <a:t>先進企業のベストプラクティスの紹介</a:t>
            </a: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buClr>
                <a:schemeClr val="tx2">
                  <a:lumMod val="100000"/>
                </a:schemeClr>
              </a:buClr>
              <a:buSzPct val="100000"/>
              <a:buFont typeface="Arial" panose="020B0604020202020204" pitchFamily="34" charset="0"/>
              <a:buChar char="•"/>
            </a:pPr>
            <a:r>
              <a:rPr lang="ja-JP" altLang="en-US" sz="1800" dirty="0">
                <a:solidFill>
                  <a:schemeClr val="tx1">
                    <a:lumMod val="100000"/>
                  </a:schemeClr>
                </a:solidFill>
                <a:latin typeface="Trebuchet MS" panose="020B0603020202020204" pitchFamily="34" charset="0"/>
                <a:ea typeface="Meiryo UI" panose="020B0604030504040204" pitchFamily="50" charset="-128"/>
              </a:rPr>
              <a:t>経営陣との議論を通じた方向性の明確化</a:t>
            </a: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a:p>
            <a:pPr marL="285750" lvl="1" indent="-285750">
              <a:buClr>
                <a:schemeClr val="tx2">
                  <a:lumMod val="100000"/>
                </a:schemeClr>
              </a:buClr>
              <a:buSzPct val="100000"/>
              <a:buFont typeface="Arial" panose="020B0604020202020204" pitchFamily="34" charset="0"/>
              <a:buChar char="•"/>
            </a:pPr>
            <a:r>
              <a:rPr lang="ja-JP" altLang="en-US" sz="1800" dirty="0">
                <a:solidFill>
                  <a:schemeClr val="tx1">
                    <a:lumMod val="100000"/>
                  </a:schemeClr>
                </a:solidFill>
                <a:latin typeface="Trebuchet MS" panose="020B0603020202020204" pitchFamily="34" charset="0"/>
                <a:ea typeface="Meiryo UI" panose="020B0604030504040204" pitchFamily="50" charset="-128"/>
              </a:rPr>
              <a:t>検討の進め方や内容に関するアドバイス</a:t>
            </a: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a:p>
            <a:pPr marL="0" lvl="1">
              <a:buClr>
                <a:schemeClr val="tx2">
                  <a:lumMod val="100000"/>
                </a:schemeClr>
              </a:buClr>
              <a:buSzPct val="100000"/>
            </a:pPr>
            <a:r>
              <a:rPr lang="ja-JP" altLang="en-US" sz="1800" dirty="0">
                <a:solidFill>
                  <a:schemeClr val="tx1">
                    <a:lumMod val="100000"/>
                  </a:schemeClr>
                </a:solidFill>
                <a:latin typeface="Trebuchet MS" panose="020B0603020202020204" pitchFamily="34" charset="0"/>
                <a:ea typeface="Meiryo UI" panose="020B0604030504040204" pitchFamily="50" charset="-128"/>
              </a:rPr>
              <a:t>　　　　　　　　　　　　　　　　　　　　　　　　等</a:t>
            </a:r>
            <a:endParaRPr lang="en-US" altLang="ja-JP" sz="1800" dirty="0">
              <a:solidFill>
                <a:schemeClr val="tx1">
                  <a:lumMod val="100000"/>
                </a:schemeClr>
              </a:solidFill>
              <a:latin typeface="Trebuchet MS" panose="020B0603020202020204" pitchFamily="34" charset="0"/>
              <a:ea typeface="Meiryo UI" panose="020B0604030504040204" pitchFamily="50" charset="-128"/>
            </a:endParaRPr>
          </a:p>
        </p:txBody>
      </p:sp>
      <p:sp>
        <p:nvSpPr>
          <p:cNvPr id="12" name="Rectangle 11">
            <a:extLst>
              <a:ext uri="{FF2B5EF4-FFF2-40B4-BE49-F238E27FC236}">
                <a16:creationId xmlns:a16="http://schemas.microsoft.com/office/drawing/2014/main" id="{F3E0E9FA-8981-4BB9-BA8C-5DF3C799CFCA}"/>
              </a:ext>
            </a:extLst>
          </p:cNvPr>
          <p:cNvSpPr/>
          <p:nvPr/>
        </p:nvSpPr>
        <p:spPr>
          <a:xfrm>
            <a:off x="3632174" y="2577136"/>
            <a:ext cx="3401152" cy="5649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r>
              <a:rPr lang="ja-JP" altLang="en-US" sz="2000" dirty="0">
                <a:solidFill>
                  <a:srgbClr val="009C89"/>
                </a:solidFill>
                <a:latin typeface="Trebuchet MS" panose="020B0603020202020204" pitchFamily="34" charset="0"/>
                <a:ea typeface="Meiryo UI" panose="020B0604030504040204" pitchFamily="50" charset="-128"/>
              </a:rPr>
              <a:t>検討状況や悩みの共有</a:t>
            </a:r>
            <a:endParaRPr lang="en-US" altLang="ja-JP" sz="2000" dirty="0">
              <a:solidFill>
                <a:srgbClr val="009C89"/>
              </a:solidFill>
              <a:latin typeface="Trebuchet MS" panose="020B0603020202020204" pitchFamily="34" charset="0"/>
              <a:ea typeface="Meiryo UI" panose="020B0604030504040204" pitchFamily="50" charset="-128"/>
            </a:endParaRPr>
          </a:p>
        </p:txBody>
      </p:sp>
      <p:sp>
        <p:nvSpPr>
          <p:cNvPr id="13" name="Rectangle 12">
            <a:extLst>
              <a:ext uri="{FF2B5EF4-FFF2-40B4-BE49-F238E27FC236}">
                <a16:creationId xmlns:a16="http://schemas.microsoft.com/office/drawing/2014/main" id="{87A71092-F5A5-405E-9F1E-083CD2FEAFF4}"/>
              </a:ext>
            </a:extLst>
          </p:cNvPr>
          <p:cNvSpPr/>
          <p:nvPr/>
        </p:nvSpPr>
        <p:spPr>
          <a:xfrm>
            <a:off x="3632174" y="3886116"/>
            <a:ext cx="3401152" cy="5649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spcBef>
                <a:spcPts val="600"/>
              </a:spcBef>
              <a:buClr>
                <a:schemeClr val="tx2">
                  <a:lumMod val="100000"/>
                </a:schemeClr>
              </a:buClr>
              <a:buSzPct val="100000"/>
            </a:pPr>
            <a:r>
              <a:rPr lang="ja-JP" altLang="en-US" sz="2000" dirty="0">
                <a:solidFill>
                  <a:schemeClr val="tx2"/>
                </a:solidFill>
                <a:latin typeface="Trebuchet MS" panose="020B0603020202020204" pitchFamily="34" charset="0"/>
                <a:ea typeface="Meiryo UI" panose="020B0604030504040204" pitchFamily="50" charset="-128"/>
              </a:rPr>
              <a:t>ノウハウや知見の共有、</a:t>
            </a:r>
            <a:br>
              <a:rPr lang="en-US" altLang="ja-JP" sz="2000" dirty="0">
                <a:solidFill>
                  <a:schemeClr val="tx2"/>
                </a:solidFill>
                <a:latin typeface="Trebuchet MS" panose="020B0603020202020204" pitchFamily="34" charset="0"/>
                <a:ea typeface="Meiryo UI" panose="020B0604030504040204" pitchFamily="50" charset="-128"/>
              </a:rPr>
            </a:br>
            <a:r>
              <a:rPr lang="ja-JP" altLang="en-US" sz="2000" dirty="0">
                <a:solidFill>
                  <a:schemeClr val="tx2"/>
                </a:solidFill>
                <a:latin typeface="Trebuchet MS" panose="020B0603020202020204" pitchFamily="34" charset="0"/>
                <a:ea typeface="Meiryo UI" panose="020B0604030504040204" pitchFamily="50" charset="-128"/>
              </a:rPr>
              <a:t>課題解決のための議論</a:t>
            </a:r>
            <a:endParaRPr lang="en-US" altLang="ja-JP" sz="2000" dirty="0">
              <a:solidFill>
                <a:schemeClr val="tx2"/>
              </a:solidFill>
              <a:latin typeface="Trebuchet MS" panose="020B0603020202020204" pitchFamily="34" charset="0"/>
              <a:ea typeface="Meiryo UI" panose="020B0604030504040204" pitchFamily="50" charset="-128"/>
            </a:endParaRPr>
          </a:p>
        </p:txBody>
      </p:sp>
      <p:grpSp>
        <p:nvGrpSpPr>
          <p:cNvPr id="14" name="Group 3">
            <a:extLst>
              <a:ext uri="{FF2B5EF4-FFF2-40B4-BE49-F238E27FC236}">
                <a16:creationId xmlns:a16="http://schemas.microsoft.com/office/drawing/2014/main" id="{C2F881B7-A3EA-40AA-808B-32B689151B5F}"/>
              </a:ext>
            </a:extLst>
          </p:cNvPr>
          <p:cNvGrpSpPr>
            <a:grpSpLocks noChangeAspect="1"/>
          </p:cNvGrpSpPr>
          <p:nvPr/>
        </p:nvGrpSpPr>
        <p:grpSpPr>
          <a:xfrm>
            <a:off x="2104860" y="2734757"/>
            <a:ext cx="1387788" cy="1389075"/>
            <a:chOff x="5273799" y="2606040"/>
            <a:chExt cx="1644396" cy="1645920"/>
          </a:xfrm>
        </p:grpSpPr>
        <p:sp>
          <p:nvSpPr>
            <p:cNvPr id="15" name="AutoShape 23">
              <a:extLst>
                <a:ext uri="{FF2B5EF4-FFF2-40B4-BE49-F238E27FC236}">
                  <a16:creationId xmlns:a16="http://schemas.microsoft.com/office/drawing/2014/main" id="{AE3BDC88-455A-4152-AEF2-8E80F23271F7}"/>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 2">
              <a:extLst>
                <a:ext uri="{FF2B5EF4-FFF2-40B4-BE49-F238E27FC236}">
                  <a16:creationId xmlns:a16="http://schemas.microsoft.com/office/drawing/2014/main" id="{CC862F50-2973-47AA-8F0D-E6E232881290}"/>
                </a:ext>
              </a:extLst>
            </p:cNvPr>
            <p:cNvGrpSpPr/>
            <p:nvPr/>
          </p:nvGrpSpPr>
          <p:grpSpPr>
            <a:xfrm>
              <a:off x="5618604" y="2747391"/>
              <a:ext cx="954786" cy="1333881"/>
              <a:chOff x="5618604" y="2747391"/>
              <a:chExt cx="954786" cy="1333881"/>
            </a:xfrm>
          </p:grpSpPr>
          <p:sp>
            <p:nvSpPr>
              <p:cNvPr id="17" name="Freeform 25">
                <a:extLst>
                  <a:ext uri="{FF2B5EF4-FFF2-40B4-BE49-F238E27FC236}">
                    <a16:creationId xmlns:a16="http://schemas.microsoft.com/office/drawing/2014/main" id="{BE1C9E59-4B3D-4EC7-A2BE-6EC45919D07A}"/>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6">
                <a:extLst>
                  <a:ext uri="{FF2B5EF4-FFF2-40B4-BE49-F238E27FC236}">
                    <a16:creationId xmlns:a16="http://schemas.microsoft.com/office/drawing/2014/main" id="{F1105FD7-91B1-4A93-B94F-B50F2DD26F0E}"/>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3">
            <a:extLst>
              <a:ext uri="{FF2B5EF4-FFF2-40B4-BE49-F238E27FC236}">
                <a16:creationId xmlns:a16="http://schemas.microsoft.com/office/drawing/2014/main" id="{D5D4BC36-A6A0-42C1-9BB6-0690D6701991}"/>
              </a:ext>
            </a:extLst>
          </p:cNvPr>
          <p:cNvGrpSpPr>
            <a:grpSpLocks noChangeAspect="1"/>
          </p:cNvGrpSpPr>
          <p:nvPr/>
        </p:nvGrpSpPr>
        <p:grpSpPr>
          <a:xfrm>
            <a:off x="7154601" y="2680926"/>
            <a:ext cx="1387788" cy="1389075"/>
            <a:chOff x="5273802" y="2606040"/>
            <a:chExt cx="1644396" cy="1645920"/>
          </a:xfrm>
        </p:grpSpPr>
        <p:sp>
          <p:nvSpPr>
            <p:cNvPr id="20" name="AutoShape 13">
              <a:extLst>
                <a:ext uri="{FF2B5EF4-FFF2-40B4-BE49-F238E27FC236}">
                  <a16:creationId xmlns:a16="http://schemas.microsoft.com/office/drawing/2014/main" id="{2D223398-525C-448D-96B2-CA992A2F1531}"/>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1" name="Group 2">
              <a:extLst>
                <a:ext uri="{FF2B5EF4-FFF2-40B4-BE49-F238E27FC236}">
                  <a16:creationId xmlns:a16="http://schemas.microsoft.com/office/drawing/2014/main" id="{A549B4EB-1CBA-45BA-B68A-5ABDA77C4EBB}"/>
                </a:ext>
              </a:extLst>
            </p:cNvPr>
            <p:cNvGrpSpPr/>
            <p:nvPr/>
          </p:nvGrpSpPr>
          <p:grpSpPr>
            <a:xfrm>
              <a:off x="5452110" y="2803779"/>
              <a:ext cx="1288923" cy="1200912"/>
              <a:chOff x="5452110" y="2803779"/>
              <a:chExt cx="1288923" cy="1200912"/>
            </a:xfrm>
          </p:grpSpPr>
          <p:sp>
            <p:nvSpPr>
              <p:cNvPr id="22" name="Freeform 15">
                <a:extLst>
                  <a:ext uri="{FF2B5EF4-FFF2-40B4-BE49-F238E27FC236}">
                    <a16:creationId xmlns:a16="http://schemas.microsoft.com/office/drawing/2014/main" id="{0B5368BB-EF6A-4AC2-9700-D1B647F2B9D4}"/>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6">
                <a:extLst>
                  <a:ext uri="{FF2B5EF4-FFF2-40B4-BE49-F238E27FC236}">
                    <a16:creationId xmlns:a16="http://schemas.microsoft.com/office/drawing/2014/main" id="{EC9E77E3-937F-4205-B7AE-F148E9A3C613}"/>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4" name="TextBox 23">
            <a:extLst>
              <a:ext uri="{FF2B5EF4-FFF2-40B4-BE49-F238E27FC236}">
                <a16:creationId xmlns:a16="http://schemas.microsoft.com/office/drawing/2014/main" id="{79429E6F-6533-46EA-A3F4-72148DBFDC91}"/>
              </a:ext>
            </a:extLst>
          </p:cNvPr>
          <p:cNvSpPr txBox="1"/>
          <p:nvPr/>
        </p:nvSpPr>
        <p:spPr>
          <a:xfrm>
            <a:off x="1965334" y="2131639"/>
            <a:ext cx="1666840" cy="4043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lang="ja-JP" altLang="en-US" sz="2000" b="1" dirty="0">
                <a:solidFill>
                  <a:schemeClr val="tx1"/>
                </a:solidFill>
                <a:latin typeface="Trebuchet MS" panose="020B0603020202020204" pitchFamily="34" charset="0"/>
                <a:ea typeface="Meiryo UI" panose="020B0604030504040204" pitchFamily="50" charset="-128"/>
              </a:rPr>
              <a:t>参加企業</a:t>
            </a:r>
            <a:endParaRPr kumimoji="1" lang="en-US" sz="2000" b="1" dirty="0" err="1">
              <a:solidFill>
                <a:schemeClr val="tx1"/>
              </a:solidFill>
              <a:latin typeface="Trebuchet MS" panose="020B0603020202020204" pitchFamily="34" charset="0"/>
              <a:ea typeface="Meiryo UI" panose="020B0604030504040204" pitchFamily="50" charset="-128"/>
            </a:endParaRPr>
          </a:p>
        </p:txBody>
      </p:sp>
      <p:sp>
        <p:nvSpPr>
          <p:cNvPr id="25" name="ee4pFootnotes">
            <a:extLst>
              <a:ext uri="{FF2B5EF4-FFF2-40B4-BE49-F238E27FC236}">
                <a16:creationId xmlns:a16="http://schemas.microsoft.com/office/drawing/2014/main" id="{EA15BC35-8904-458B-B4CE-025B477A5650}"/>
              </a:ext>
            </a:extLst>
          </p:cNvPr>
          <p:cNvSpPr>
            <a:spLocks noChangeArrowheads="1"/>
          </p:cNvSpPr>
          <p:nvPr/>
        </p:nvSpPr>
        <p:spPr bwMode="auto">
          <a:xfrm>
            <a:off x="629398" y="7118269"/>
            <a:ext cx="728340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solidFill>
                  <a:srgbClr val="7F7F7F">
                    <a:lumMod val="100000"/>
                  </a:srgbClr>
                </a:solidFill>
                <a:latin typeface="Trebuchet MS" panose="020B0603020202020204" pitchFamily="34" charset="0"/>
                <a:cs typeface="Arial" pitchFamily="34" charset="0"/>
              </a:rPr>
              <a:t>注</a:t>
            </a:r>
            <a:r>
              <a:rPr lang="en-US" sz="1000" dirty="0">
                <a:solidFill>
                  <a:srgbClr val="7F7F7F">
                    <a:lumMod val="100000"/>
                  </a:srgbClr>
                </a:solidFill>
                <a:latin typeface="Trebuchet MS" panose="020B0603020202020204" pitchFamily="34" charset="0"/>
                <a:cs typeface="Arial" pitchFamily="34" charset="0"/>
              </a:rPr>
              <a:t>: </a:t>
            </a:r>
            <a:r>
              <a:rPr lang="ja-JP" altLang="en-US" sz="1000" dirty="0">
                <a:solidFill>
                  <a:srgbClr val="7F7F7F">
                    <a:lumMod val="100000"/>
                  </a:srgbClr>
                </a:solidFill>
                <a:latin typeface="Trebuchet MS" panose="020B0603020202020204" pitchFamily="34" charset="0"/>
                <a:cs typeface="Arial" pitchFamily="34" charset="0"/>
              </a:rPr>
              <a:t>実際の進め方は、各社の検討状況や支援ニーズに応じて決定</a:t>
            </a:r>
            <a:endParaRPr lang="en-US" sz="1000" dirty="0">
              <a:solidFill>
                <a:srgbClr val="7F7F7F">
                  <a:lumMod val="100000"/>
                </a:srgbClr>
              </a:solidFill>
              <a:latin typeface="Trebuchet MS" panose="020B0603020202020204" pitchFamily="34" charset="0"/>
              <a:cs typeface="Arial" pitchFamily="34" charset="0"/>
            </a:endParaRPr>
          </a:p>
        </p:txBody>
      </p:sp>
      <p:cxnSp>
        <p:nvCxnSpPr>
          <p:cNvPr id="26" name="Straight Connector 25">
            <a:extLst>
              <a:ext uri="{FF2B5EF4-FFF2-40B4-BE49-F238E27FC236}">
                <a16:creationId xmlns:a16="http://schemas.microsoft.com/office/drawing/2014/main" id="{F0356E5F-7E18-4C4F-ADE8-8BAFE6EB0FC9}"/>
              </a:ext>
            </a:extLst>
          </p:cNvPr>
          <p:cNvCxnSpPr>
            <a:cxnSpLocks/>
          </p:cNvCxnSpPr>
          <p:nvPr/>
        </p:nvCxnSpPr>
        <p:spPr>
          <a:xfrm rot="5400000">
            <a:off x="7837480" y="3070445"/>
            <a:ext cx="0" cy="4140000"/>
          </a:xfrm>
          <a:prstGeom prst="line">
            <a:avLst/>
          </a:prstGeom>
          <a:ln w="19050" cap="flat" cmpd="sng" algn="ctr">
            <a:solidFill>
              <a:srgbClr val="9A9A9A"/>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CF62F7B-2999-4454-90D3-84F9D962E13B}"/>
              </a:ext>
            </a:extLst>
          </p:cNvPr>
          <p:cNvCxnSpPr>
            <a:cxnSpLocks/>
          </p:cNvCxnSpPr>
          <p:nvPr/>
        </p:nvCxnSpPr>
        <p:spPr>
          <a:xfrm>
            <a:off x="2798753" y="4282833"/>
            <a:ext cx="0" cy="857612"/>
          </a:xfrm>
          <a:prstGeom prst="line">
            <a:avLst/>
          </a:prstGeom>
          <a:ln w="190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04E7BE-9AA0-47BE-92E1-54CC4C85953F}"/>
              </a:ext>
            </a:extLst>
          </p:cNvPr>
          <p:cNvCxnSpPr>
            <a:cxnSpLocks/>
          </p:cNvCxnSpPr>
          <p:nvPr/>
        </p:nvCxnSpPr>
        <p:spPr>
          <a:xfrm rot="5400000">
            <a:off x="2798754" y="3070445"/>
            <a:ext cx="0" cy="4140000"/>
          </a:xfrm>
          <a:prstGeom prst="line">
            <a:avLst/>
          </a:prstGeom>
          <a:ln w="19050" cap="flat" cmpd="sng" algn="ctr">
            <a:solidFill>
              <a:srgbClr val="9A9A9A"/>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121C45-A7CF-4879-BF10-0364B5361B58}"/>
              </a:ext>
            </a:extLst>
          </p:cNvPr>
          <p:cNvCxnSpPr>
            <a:cxnSpLocks/>
          </p:cNvCxnSpPr>
          <p:nvPr/>
        </p:nvCxnSpPr>
        <p:spPr>
          <a:xfrm>
            <a:off x="7837478" y="4282833"/>
            <a:ext cx="0" cy="857612"/>
          </a:xfrm>
          <a:prstGeom prst="line">
            <a:avLst/>
          </a:prstGeom>
          <a:ln w="190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19878AFF-EFC4-4A8C-B884-8F161EB95CAA}"/>
              </a:ext>
            </a:extLst>
          </p:cNvPr>
          <p:cNvSpPr/>
          <p:nvPr/>
        </p:nvSpPr>
        <p:spPr>
          <a:xfrm>
            <a:off x="728754" y="5253355"/>
            <a:ext cx="1335936" cy="344464"/>
          </a:xfrm>
          <a:prstGeom prst="roundRect">
            <a:avLst>
              <a:gd name="adj" fmla="val 24723"/>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rgbClr val="FFFFFF"/>
                </a:solidFill>
              </a:rPr>
              <a:t>実施内容</a:t>
            </a:r>
            <a:endParaRPr kumimoji="1" lang="en-US" sz="2000" dirty="0">
              <a:solidFill>
                <a:srgbClr val="FFFFFF"/>
              </a:solidFill>
            </a:endParaRPr>
          </a:p>
        </p:txBody>
      </p:sp>
      <p:sp>
        <p:nvSpPr>
          <p:cNvPr id="31" name="Rectangle: Rounded Corners 30">
            <a:extLst>
              <a:ext uri="{FF2B5EF4-FFF2-40B4-BE49-F238E27FC236}">
                <a16:creationId xmlns:a16="http://schemas.microsoft.com/office/drawing/2014/main" id="{57EC6C8C-939B-4A9F-819A-7C2D85DE7133}"/>
              </a:ext>
            </a:extLst>
          </p:cNvPr>
          <p:cNvSpPr/>
          <p:nvPr/>
        </p:nvSpPr>
        <p:spPr>
          <a:xfrm>
            <a:off x="5767480" y="5253355"/>
            <a:ext cx="1335936" cy="344464"/>
          </a:xfrm>
          <a:prstGeom prst="roundRect">
            <a:avLst>
              <a:gd name="adj" fmla="val 24723"/>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dirty="0">
                <a:solidFill>
                  <a:srgbClr val="FFFFFF"/>
                </a:solidFill>
              </a:rPr>
              <a:t>支援内容</a:t>
            </a:r>
            <a:endParaRPr lang="en-US" sz="2000" dirty="0">
              <a:solidFill>
                <a:srgbClr val="FFFFFF"/>
              </a:solidFill>
            </a:endParaRPr>
          </a:p>
        </p:txBody>
      </p:sp>
    </p:spTree>
    <p:extLst>
      <p:ext uri="{BB962C8B-B14F-4D97-AF65-F5344CB8AC3E}">
        <p14:creationId xmlns:p14="http://schemas.microsoft.com/office/powerpoint/2010/main" val="2276212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CE38834861DF344A0F29F1BC841ED08" ma:contentTypeVersion="6" ma:contentTypeDescription="Create a new document." ma:contentTypeScope="" ma:versionID="3696a28adb6cd8ab8a3bce2dfcd662f2">
  <xsd:schema xmlns:xsd="http://www.w3.org/2001/XMLSchema" xmlns:xs="http://www.w3.org/2001/XMLSchema" xmlns:p="http://schemas.microsoft.com/office/2006/metadata/properties" xmlns:ns2="37647c14-759c-44f6-ab4f-d25bd5113db3" targetNamespace="http://schemas.microsoft.com/office/2006/metadata/properties" ma:root="true" ma:fieldsID="bd4d50cc0e795f7681603ddf40dc01f3" ns2:_="">
    <xsd:import namespace="37647c14-759c-44f6-ab4f-d25bd5113db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647c14-759c-44f6-ab4f-d25bd5113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E4B7A5-07B3-4356-8F7A-AB8CA00D1315}">
  <ds:schemaRefs>
    <ds:schemaRef ds:uri="http://purl.org/dc/terms/"/>
    <ds:schemaRef ds:uri="http://schemas.microsoft.com/office/infopath/2007/PartnerControls"/>
    <ds:schemaRef ds:uri="37647c14-759c-44f6-ab4f-d25bd5113db3"/>
    <ds:schemaRef ds:uri="http://schemas.microsoft.com/office/2006/documentManagement/types"/>
    <ds:schemaRef ds:uri="http://www.w3.org/XML/1998/namespace"/>
    <ds:schemaRef ds:uri="http://purl.org/dc/dcmitype/"/>
    <ds:schemaRef ds:uri="http://purl.org/dc/elements/1.1/"/>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5EDCEED-13A9-4B41-97DA-E0B3CDE1B1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647c14-759c-44f6-ab4f-d25bd5113d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C678F5-0870-4854-9972-8BCD9A4C01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Words>1840</Words>
  <PresentationFormat>Custom</PresentationFormat>
  <Paragraphs>182</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Meiryo UI</vt:lpstr>
      <vt:lpstr>游ゴシック</vt:lpstr>
      <vt:lpstr>Arial</vt:lpstr>
      <vt:lpstr>Trebuchet MS</vt:lpstr>
      <vt:lpstr>Wingdings</vt:lpstr>
      <vt:lpstr>Office テーマ</vt:lpstr>
      <vt:lpstr>think-cell Slide</vt:lpstr>
      <vt:lpstr>令和４年度　製品・サービスのライフサイクルを通じた 温室効果ガス排出量算定・表示推進事業</vt:lpstr>
      <vt:lpstr>モデル事業の概要</vt:lpstr>
      <vt:lpstr>募集する企業のパターン</vt:lpstr>
      <vt:lpstr>モデル事業で取り組む内容 (パターンA-1, A-2の場合)</vt:lpstr>
      <vt:lpstr>支援の実施スケジュールのイメージ (パターンA-1, A-2の場合)</vt:lpstr>
      <vt:lpstr>モデル事業で取り組む内容 (パターンBの場合)</vt:lpstr>
      <vt:lpstr>支援の実施スケジュールのイメージ (パターンBの場合)</vt:lpstr>
      <vt:lpstr>採択企業の決定の際に考慮する主な観点</vt:lpstr>
      <vt:lpstr>本事業の実施方法</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E38834861DF344A0F29F1BC841ED08</vt:lpwstr>
  </property>
  <property fmtid="{D5CDD505-2E9C-101B-9397-08002B2CF9AE}" pid="3" name="MSIP_Label_b0d5c4f4-7a29-4385-b7a5-afbe2154ae6f_Enabled">
    <vt:lpwstr>true</vt:lpwstr>
  </property>
  <property fmtid="{D5CDD505-2E9C-101B-9397-08002B2CF9AE}" pid="4" name="MSIP_Label_b0d5c4f4-7a29-4385-b7a5-afbe2154ae6f_SetDate">
    <vt:lpwstr>2022-06-14T10:02:38Z</vt:lpwstr>
  </property>
  <property fmtid="{D5CDD505-2E9C-101B-9397-08002B2CF9AE}" pid="5" name="MSIP_Label_b0d5c4f4-7a29-4385-b7a5-afbe2154ae6f_Method">
    <vt:lpwstr>Standard</vt:lpwstr>
  </property>
  <property fmtid="{D5CDD505-2E9C-101B-9397-08002B2CF9AE}" pid="6" name="MSIP_Label_b0d5c4f4-7a29-4385-b7a5-afbe2154ae6f_Name">
    <vt:lpwstr>Confidential</vt:lpwstr>
  </property>
  <property fmtid="{D5CDD505-2E9C-101B-9397-08002B2CF9AE}" pid="7" name="MSIP_Label_b0d5c4f4-7a29-4385-b7a5-afbe2154ae6f_SiteId">
    <vt:lpwstr>2dfb2f0b-4d21-4268-9559-72926144c918</vt:lpwstr>
  </property>
  <property fmtid="{D5CDD505-2E9C-101B-9397-08002B2CF9AE}" pid="8" name="MSIP_Label_b0d5c4f4-7a29-4385-b7a5-afbe2154ae6f_ActionId">
    <vt:lpwstr>3939a3c5-71fc-4520-83f8-d5eb1670f140</vt:lpwstr>
  </property>
  <property fmtid="{D5CDD505-2E9C-101B-9397-08002B2CF9AE}" pid="9" name="MSIP_Label_b0d5c4f4-7a29-4385-b7a5-afbe2154ae6f_ContentBits">
    <vt:lpwstr>0</vt:lpwstr>
  </property>
  <property fmtid="{D5CDD505-2E9C-101B-9397-08002B2CF9AE}" pid="10" name="bcgClassification">
    <vt:lpwstr>bcgConfidential</vt:lpwstr>
  </property>
</Properties>
</file>